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1"/>
  </p:notesMasterIdLst>
  <p:sldIdLst>
    <p:sldId id="316" r:id="rId3"/>
    <p:sldId id="275" r:id="rId4"/>
    <p:sldId id="278" r:id="rId5"/>
    <p:sldId id="311" r:id="rId6"/>
    <p:sldId id="302" r:id="rId7"/>
    <p:sldId id="314" r:id="rId8"/>
    <p:sldId id="312" r:id="rId9"/>
    <p:sldId id="313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DFDF"/>
    <a:srgbClr val="D9E3BC"/>
    <a:srgbClr val="E9EED6"/>
    <a:srgbClr val="E7DCAE"/>
    <a:srgbClr val="FFFFCC"/>
    <a:srgbClr val="00FFFF"/>
    <a:srgbClr val="FF7C80"/>
    <a:srgbClr val="A50021"/>
    <a:srgbClr val="FF3300"/>
    <a:srgbClr val="E6D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47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14/Wed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4/Wed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22931" y="2640234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5237838" y="2640234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5211081" y="2764611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5211081" y="3154722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782" y="2885093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2A59B3D-DB4A-4B14-9A3B-7D02ABD67559}"/>
              </a:ext>
            </a:extLst>
          </p:cNvPr>
          <p:cNvSpPr txBox="1"/>
          <p:nvPr/>
        </p:nvSpPr>
        <p:spPr>
          <a:xfrm>
            <a:off x="5211081" y="3190127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其他关系图</a:t>
            </a:r>
            <a:endParaRPr lang="en-US" altLang="zh-CN" sz="3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54614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文本框 26">
            <a:extLst>
              <a:ext uri="{FF2B5EF4-FFF2-40B4-BE49-F238E27FC236}">
                <a16:creationId xmlns:a16="http://schemas.microsoft.com/office/drawing/2014/main" id="{76415D82-80E7-4463-A49C-5A7781713295}"/>
              </a:ext>
            </a:extLst>
          </p:cNvPr>
          <p:cNvSpPr txBox="1"/>
          <p:nvPr/>
        </p:nvSpPr>
        <p:spPr>
          <a:xfrm>
            <a:off x="1555133" y="1524541"/>
            <a:ext cx="249299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循环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表达闭环的循环关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60383C1D-908F-4C55-BD2F-0A3B5F0A787C}"/>
              </a:ext>
            </a:extLst>
          </p:cNvPr>
          <p:cNvSpPr/>
          <p:nvPr/>
        </p:nvSpPr>
        <p:spPr>
          <a:xfrm>
            <a:off x="6627320" y="1758907"/>
            <a:ext cx="3571200" cy="3571200"/>
          </a:xfrm>
          <a:prstGeom prst="ellipse">
            <a:avLst/>
          </a:prstGeom>
          <a:gradFill flip="none" rotWithShape="1">
            <a:gsLst>
              <a:gs pos="100000">
                <a:srgbClr val="FFFFFF">
                  <a:lumMod val="100000"/>
                </a:srgbClr>
              </a:gs>
              <a:gs pos="0">
                <a:srgbClr val="EFEFEF"/>
              </a:gs>
            </a:gsLst>
            <a:lin ang="2700000" scaled="1"/>
            <a:tileRect/>
          </a:gradFill>
          <a:ln w="6350">
            <a:gradFill flip="none" rotWithShape="1">
              <a:gsLst>
                <a:gs pos="100000">
                  <a:srgbClr val="FFFFFF"/>
                </a:gs>
                <a:gs pos="0">
                  <a:srgbClr val="EFEFEF"/>
                </a:gs>
              </a:gsLst>
              <a:lin ang="13500000" scaled="1"/>
              <a:tileRect/>
            </a:gradFill>
          </a:ln>
          <a:effectLst>
            <a:outerShdw blurRad="266700" dist="1270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Freeform 13">
            <a:extLst>
              <a:ext uri="{FF2B5EF4-FFF2-40B4-BE49-F238E27FC236}">
                <a16:creationId xmlns:a16="http://schemas.microsoft.com/office/drawing/2014/main" id="{670D6C51-3200-47E6-828E-23771EE4012B}"/>
              </a:ext>
            </a:extLst>
          </p:cNvPr>
          <p:cNvSpPr>
            <a:spLocks/>
          </p:cNvSpPr>
          <p:nvPr/>
        </p:nvSpPr>
        <p:spPr bwMode="auto">
          <a:xfrm>
            <a:off x="7032489" y="3410305"/>
            <a:ext cx="1568450" cy="1600200"/>
          </a:xfrm>
          <a:custGeom>
            <a:avLst/>
            <a:gdLst>
              <a:gd name="T0" fmla="*/ 862 w 878"/>
              <a:gd name="T1" fmla="*/ 573 h 897"/>
              <a:gd name="T2" fmla="*/ 801 w 878"/>
              <a:gd name="T3" fmla="*/ 577 h 897"/>
              <a:gd name="T4" fmla="*/ 320 w 878"/>
              <a:gd name="T5" fmla="*/ 152 h 897"/>
              <a:gd name="T6" fmla="*/ 169 w 878"/>
              <a:gd name="T7" fmla="*/ 0 h 897"/>
              <a:gd name="T8" fmla="*/ 0 w 878"/>
              <a:gd name="T9" fmla="*/ 169 h 897"/>
              <a:gd name="T10" fmla="*/ 801 w 878"/>
              <a:gd name="T11" fmla="*/ 897 h 897"/>
              <a:gd name="T12" fmla="*/ 878 w 878"/>
              <a:gd name="T13" fmla="*/ 893 h 897"/>
              <a:gd name="T14" fmla="*/ 710 w 878"/>
              <a:gd name="T15" fmla="*/ 724 h 897"/>
              <a:gd name="T16" fmla="*/ 862 w 878"/>
              <a:gd name="T17" fmla="*/ 573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78" h="897">
                <a:moveTo>
                  <a:pt x="862" y="573"/>
                </a:moveTo>
                <a:cubicBezTo>
                  <a:pt x="842" y="575"/>
                  <a:pt x="821" y="577"/>
                  <a:pt x="801" y="577"/>
                </a:cubicBezTo>
                <a:cubicBezTo>
                  <a:pt x="554" y="577"/>
                  <a:pt x="350" y="391"/>
                  <a:pt x="320" y="152"/>
                </a:cubicBezTo>
                <a:cubicBezTo>
                  <a:pt x="169" y="0"/>
                  <a:pt x="169" y="0"/>
                  <a:pt x="169" y="0"/>
                </a:cubicBezTo>
                <a:cubicBezTo>
                  <a:pt x="0" y="169"/>
                  <a:pt x="0" y="169"/>
                  <a:pt x="0" y="169"/>
                </a:cubicBezTo>
                <a:cubicBezTo>
                  <a:pt x="39" y="577"/>
                  <a:pt x="383" y="897"/>
                  <a:pt x="801" y="897"/>
                </a:cubicBezTo>
                <a:cubicBezTo>
                  <a:pt x="827" y="897"/>
                  <a:pt x="853" y="895"/>
                  <a:pt x="878" y="893"/>
                </a:cubicBezTo>
                <a:cubicBezTo>
                  <a:pt x="710" y="724"/>
                  <a:pt x="710" y="724"/>
                  <a:pt x="710" y="724"/>
                </a:cubicBezTo>
                <a:lnTo>
                  <a:pt x="862" y="573"/>
                </a:lnTo>
                <a:close/>
              </a:path>
            </a:pathLst>
          </a:custGeom>
          <a:gradFill>
            <a:gsLst>
              <a:gs pos="100000">
                <a:srgbClr val="394E6B"/>
              </a:gs>
              <a:gs pos="0">
                <a:srgbClr val="457D8E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394E6B"/>
              </a:solidFill>
            </a:endParaRPr>
          </a:p>
        </p:txBody>
      </p:sp>
      <p:sp>
        <p:nvSpPr>
          <p:cNvPr id="30" name="Freeform 14">
            <a:extLst>
              <a:ext uri="{FF2B5EF4-FFF2-40B4-BE49-F238E27FC236}">
                <a16:creationId xmlns:a16="http://schemas.microsoft.com/office/drawing/2014/main" id="{6EF624E9-A1E7-4468-84AA-019FC50B0686}"/>
              </a:ext>
            </a:extLst>
          </p:cNvPr>
          <p:cNvSpPr>
            <a:spLocks/>
          </p:cNvSpPr>
          <p:nvPr/>
        </p:nvSpPr>
        <p:spPr bwMode="auto">
          <a:xfrm>
            <a:off x="8327889" y="2138717"/>
            <a:ext cx="1565275" cy="1600200"/>
          </a:xfrm>
          <a:custGeom>
            <a:avLst/>
            <a:gdLst>
              <a:gd name="T0" fmla="*/ 16 w 877"/>
              <a:gd name="T1" fmla="*/ 324 h 897"/>
              <a:gd name="T2" fmla="*/ 76 w 877"/>
              <a:gd name="T3" fmla="*/ 320 h 897"/>
              <a:gd name="T4" fmla="*/ 557 w 877"/>
              <a:gd name="T5" fmla="*/ 744 h 897"/>
              <a:gd name="T6" fmla="*/ 709 w 877"/>
              <a:gd name="T7" fmla="*/ 897 h 897"/>
              <a:gd name="T8" fmla="*/ 877 w 877"/>
              <a:gd name="T9" fmla="*/ 729 h 897"/>
              <a:gd name="T10" fmla="*/ 76 w 877"/>
              <a:gd name="T11" fmla="*/ 0 h 897"/>
              <a:gd name="T12" fmla="*/ 0 w 877"/>
              <a:gd name="T13" fmla="*/ 4 h 897"/>
              <a:gd name="T14" fmla="*/ 168 w 877"/>
              <a:gd name="T15" fmla="*/ 173 h 897"/>
              <a:gd name="T16" fmla="*/ 16 w 877"/>
              <a:gd name="T17" fmla="*/ 324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77" h="897">
                <a:moveTo>
                  <a:pt x="16" y="324"/>
                </a:moveTo>
                <a:cubicBezTo>
                  <a:pt x="36" y="322"/>
                  <a:pt x="56" y="320"/>
                  <a:pt x="76" y="320"/>
                </a:cubicBezTo>
                <a:cubicBezTo>
                  <a:pt x="323" y="320"/>
                  <a:pt x="527" y="506"/>
                  <a:pt x="557" y="744"/>
                </a:cubicBezTo>
                <a:cubicBezTo>
                  <a:pt x="709" y="897"/>
                  <a:pt x="709" y="897"/>
                  <a:pt x="709" y="897"/>
                </a:cubicBezTo>
                <a:cubicBezTo>
                  <a:pt x="877" y="729"/>
                  <a:pt x="877" y="729"/>
                  <a:pt x="877" y="729"/>
                </a:cubicBezTo>
                <a:cubicBezTo>
                  <a:pt x="838" y="321"/>
                  <a:pt x="494" y="0"/>
                  <a:pt x="76" y="0"/>
                </a:cubicBezTo>
                <a:cubicBezTo>
                  <a:pt x="50" y="0"/>
                  <a:pt x="25" y="2"/>
                  <a:pt x="0" y="4"/>
                </a:cubicBezTo>
                <a:cubicBezTo>
                  <a:pt x="168" y="173"/>
                  <a:pt x="168" y="173"/>
                  <a:pt x="168" y="173"/>
                </a:cubicBezTo>
                <a:lnTo>
                  <a:pt x="16" y="324"/>
                </a:lnTo>
                <a:close/>
              </a:path>
            </a:pathLst>
          </a:custGeom>
          <a:gradFill>
            <a:gsLst>
              <a:gs pos="100000">
                <a:srgbClr val="829436"/>
              </a:gs>
              <a:gs pos="0">
                <a:srgbClr val="B8BA31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394E6B"/>
              </a:solidFill>
            </a:endParaRPr>
          </a:p>
        </p:txBody>
      </p:sp>
      <p:sp>
        <p:nvSpPr>
          <p:cNvPr id="31" name="Freeform 15">
            <a:extLst>
              <a:ext uri="{FF2B5EF4-FFF2-40B4-BE49-F238E27FC236}">
                <a16:creationId xmlns:a16="http://schemas.microsoft.com/office/drawing/2014/main" id="{E0CE1399-49E6-4A12-BC64-9B85C7855EFC}"/>
              </a:ext>
            </a:extLst>
          </p:cNvPr>
          <p:cNvSpPr>
            <a:spLocks/>
          </p:cNvSpPr>
          <p:nvPr/>
        </p:nvSpPr>
        <p:spPr bwMode="auto">
          <a:xfrm>
            <a:off x="8300901" y="3438880"/>
            <a:ext cx="1598612" cy="1565275"/>
          </a:xfrm>
          <a:custGeom>
            <a:avLst/>
            <a:gdLst>
              <a:gd name="T0" fmla="*/ 892 w 896"/>
              <a:gd name="T1" fmla="*/ 0 h 877"/>
              <a:gd name="T2" fmla="*/ 724 w 896"/>
              <a:gd name="T3" fmla="*/ 168 h 877"/>
              <a:gd name="T4" fmla="*/ 572 w 896"/>
              <a:gd name="T5" fmla="*/ 15 h 877"/>
              <a:gd name="T6" fmla="*/ 576 w 896"/>
              <a:gd name="T7" fmla="*/ 76 h 877"/>
              <a:gd name="T8" fmla="*/ 152 w 896"/>
              <a:gd name="T9" fmla="*/ 557 h 877"/>
              <a:gd name="T10" fmla="*/ 0 w 896"/>
              <a:gd name="T11" fmla="*/ 708 h 877"/>
              <a:gd name="T12" fmla="*/ 168 w 896"/>
              <a:gd name="T13" fmla="*/ 877 h 877"/>
              <a:gd name="T14" fmla="*/ 896 w 896"/>
              <a:gd name="T15" fmla="*/ 76 h 877"/>
              <a:gd name="T16" fmla="*/ 892 w 896"/>
              <a:gd name="T17" fmla="*/ 0 h 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6" h="877">
                <a:moveTo>
                  <a:pt x="892" y="0"/>
                </a:moveTo>
                <a:cubicBezTo>
                  <a:pt x="724" y="168"/>
                  <a:pt x="724" y="168"/>
                  <a:pt x="724" y="168"/>
                </a:cubicBezTo>
                <a:cubicBezTo>
                  <a:pt x="572" y="15"/>
                  <a:pt x="572" y="15"/>
                  <a:pt x="572" y="15"/>
                </a:cubicBezTo>
                <a:cubicBezTo>
                  <a:pt x="574" y="35"/>
                  <a:pt x="576" y="56"/>
                  <a:pt x="576" y="76"/>
                </a:cubicBezTo>
                <a:cubicBezTo>
                  <a:pt x="576" y="323"/>
                  <a:pt x="390" y="527"/>
                  <a:pt x="152" y="557"/>
                </a:cubicBezTo>
                <a:cubicBezTo>
                  <a:pt x="0" y="708"/>
                  <a:pt x="0" y="708"/>
                  <a:pt x="0" y="708"/>
                </a:cubicBezTo>
                <a:cubicBezTo>
                  <a:pt x="168" y="877"/>
                  <a:pt x="168" y="877"/>
                  <a:pt x="168" y="877"/>
                </a:cubicBezTo>
                <a:cubicBezTo>
                  <a:pt x="576" y="838"/>
                  <a:pt x="896" y="494"/>
                  <a:pt x="896" y="76"/>
                </a:cubicBezTo>
                <a:cubicBezTo>
                  <a:pt x="896" y="50"/>
                  <a:pt x="894" y="25"/>
                  <a:pt x="892" y="0"/>
                </a:cubicBezTo>
                <a:close/>
              </a:path>
            </a:pathLst>
          </a:custGeom>
          <a:gradFill>
            <a:gsLst>
              <a:gs pos="100000">
                <a:srgbClr val="C86126"/>
              </a:gs>
              <a:gs pos="0">
                <a:srgbClr val="EB842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394E6B"/>
              </a:solidFill>
            </a:endParaRPr>
          </a:p>
        </p:txBody>
      </p:sp>
      <p:sp>
        <p:nvSpPr>
          <p:cNvPr id="57" name="Freeform 16">
            <a:extLst>
              <a:ext uri="{FF2B5EF4-FFF2-40B4-BE49-F238E27FC236}">
                <a16:creationId xmlns:a16="http://schemas.microsoft.com/office/drawing/2014/main" id="{D2CAC582-E970-4502-9A70-C581A24E6587}"/>
              </a:ext>
            </a:extLst>
          </p:cNvPr>
          <p:cNvSpPr>
            <a:spLocks/>
          </p:cNvSpPr>
          <p:nvPr/>
        </p:nvSpPr>
        <p:spPr bwMode="auto">
          <a:xfrm>
            <a:off x="7026139" y="2145067"/>
            <a:ext cx="1601787" cy="1566863"/>
          </a:xfrm>
          <a:custGeom>
            <a:avLst/>
            <a:gdLst>
              <a:gd name="T0" fmla="*/ 324 w 897"/>
              <a:gd name="T1" fmla="*/ 861 h 878"/>
              <a:gd name="T2" fmla="*/ 320 w 897"/>
              <a:gd name="T3" fmla="*/ 801 h 878"/>
              <a:gd name="T4" fmla="*/ 745 w 897"/>
              <a:gd name="T5" fmla="*/ 320 h 878"/>
              <a:gd name="T6" fmla="*/ 897 w 897"/>
              <a:gd name="T7" fmla="*/ 169 h 878"/>
              <a:gd name="T8" fmla="*/ 729 w 897"/>
              <a:gd name="T9" fmla="*/ 0 h 878"/>
              <a:gd name="T10" fmla="*/ 0 w 897"/>
              <a:gd name="T11" fmla="*/ 801 h 878"/>
              <a:gd name="T12" fmla="*/ 4 w 897"/>
              <a:gd name="T13" fmla="*/ 878 h 878"/>
              <a:gd name="T14" fmla="*/ 173 w 897"/>
              <a:gd name="T15" fmla="*/ 709 h 878"/>
              <a:gd name="T16" fmla="*/ 324 w 897"/>
              <a:gd name="T17" fmla="*/ 861 h 8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7" h="878">
                <a:moveTo>
                  <a:pt x="324" y="861"/>
                </a:moveTo>
                <a:cubicBezTo>
                  <a:pt x="322" y="841"/>
                  <a:pt x="320" y="821"/>
                  <a:pt x="320" y="801"/>
                </a:cubicBezTo>
                <a:cubicBezTo>
                  <a:pt x="320" y="554"/>
                  <a:pt x="506" y="350"/>
                  <a:pt x="745" y="320"/>
                </a:cubicBezTo>
                <a:cubicBezTo>
                  <a:pt x="897" y="169"/>
                  <a:pt x="897" y="169"/>
                  <a:pt x="897" y="169"/>
                </a:cubicBezTo>
                <a:cubicBezTo>
                  <a:pt x="729" y="0"/>
                  <a:pt x="729" y="0"/>
                  <a:pt x="729" y="0"/>
                </a:cubicBezTo>
                <a:cubicBezTo>
                  <a:pt x="321" y="39"/>
                  <a:pt x="0" y="383"/>
                  <a:pt x="0" y="801"/>
                </a:cubicBezTo>
                <a:cubicBezTo>
                  <a:pt x="0" y="827"/>
                  <a:pt x="2" y="853"/>
                  <a:pt x="4" y="878"/>
                </a:cubicBezTo>
                <a:cubicBezTo>
                  <a:pt x="173" y="709"/>
                  <a:pt x="173" y="709"/>
                  <a:pt x="173" y="709"/>
                </a:cubicBezTo>
                <a:lnTo>
                  <a:pt x="324" y="861"/>
                </a:lnTo>
                <a:close/>
              </a:path>
            </a:pathLst>
          </a:custGeom>
          <a:gradFill>
            <a:gsLst>
              <a:gs pos="100000">
                <a:srgbClr val="9A2E22"/>
              </a:gs>
              <a:gs pos="0">
                <a:srgbClr val="C44A2F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394E6B"/>
              </a:solidFill>
            </a:endParaRPr>
          </a:p>
        </p:txBody>
      </p:sp>
      <p:sp>
        <p:nvSpPr>
          <p:cNvPr id="58" name="Freeform 18">
            <a:extLst>
              <a:ext uri="{FF2B5EF4-FFF2-40B4-BE49-F238E27FC236}">
                <a16:creationId xmlns:a16="http://schemas.microsoft.com/office/drawing/2014/main" id="{5EE4818C-3702-4F93-A175-D7840AAF596F}"/>
              </a:ext>
            </a:extLst>
          </p:cNvPr>
          <p:cNvSpPr>
            <a:spLocks noEditPoints="1"/>
          </p:cNvSpPr>
          <p:nvPr/>
        </p:nvSpPr>
        <p:spPr bwMode="auto">
          <a:xfrm>
            <a:off x="7948476" y="3170592"/>
            <a:ext cx="1038225" cy="830263"/>
          </a:xfrm>
          <a:custGeom>
            <a:avLst/>
            <a:gdLst>
              <a:gd name="T0" fmla="*/ 246 w 581"/>
              <a:gd name="T1" fmla="*/ 181 h 465"/>
              <a:gd name="T2" fmla="*/ 162 w 581"/>
              <a:gd name="T3" fmla="*/ 181 h 465"/>
              <a:gd name="T4" fmla="*/ 118 w 581"/>
              <a:gd name="T5" fmla="*/ 234 h 465"/>
              <a:gd name="T6" fmla="*/ 140 w 581"/>
              <a:gd name="T7" fmla="*/ 325 h 465"/>
              <a:gd name="T8" fmla="*/ 231 w 581"/>
              <a:gd name="T9" fmla="*/ 347 h 465"/>
              <a:gd name="T10" fmla="*/ 284 w 581"/>
              <a:gd name="T11" fmla="*/ 303 h 465"/>
              <a:gd name="T12" fmla="*/ 284 w 581"/>
              <a:gd name="T13" fmla="*/ 219 h 465"/>
              <a:gd name="T14" fmla="*/ 193 w 581"/>
              <a:gd name="T15" fmla="*/ 288 h 465"/>
              <a:gd name="T16" fmla="*/ 193 w 581"/>
              <a:gd name="T17" fmla="*/ 234 h 465"/>
              <a:gd name="T18" fmla="*/ 231 w 581"/>
              <a:gd name="T19" fmla="*/ 272 h 465"/>
              <a:gd name="T20" fmla="*/ 329 w 581"/>
              <a:gd name="T21" fmla="*/ 98 h 465"/>
              <a:gd name="T22" fmla="*/ 231 w 581"/>
              <a:gd name="T23" fmla="*/ 57 h 465"/>
              <a:gd name="T24" fmla="*/ 107 w 581"/>
              <a:gd name="T25" fmla="*/ 126 h 465"/>
              <a:gd name="T26" fmla="*/ 69 w 581"/>
              <a:gd name="T27" fmla="*/ 164 h 465"/>
              <a:gd name="T28" fmla="*/ 0 w 581"/>
              <a:gd name="T29" fmla="*/ 288 h 465"/>
              <a:gd name="T30" fmla="*/ 41 w 581"/>
              <a:gd name="T31" fmla="*/ 386 h 465"/>
              <a:gd name="T32" fmla="*/ 177 w 581"/>
              <a:gd name="T33" fmla="*/ 425 h 465"/>
              <a:gd name="T34" fmla="*/ 231 w 581"/>
              <a:gd name="T35" fmla="*/ 425 h 465"/>
              <a:gd name="T36" fmla="*/ 368 w 581"/>
              <a:gd name="T37" fmla="*/ 386 h 465"/>
              <a:gd name="T38" fmla="*/ 408 w 581"/>
              <a:gd name="T39" fmla="*/ 288 h 465"/>
              <a:gd name="T40" fmla="*/ 339 w 581"/>
              <a:gd name="T41" fmla="*/ 164 h 465"/>
              <a:gd name="T42" fmla="*/ 305 w 581"/>
              <a:gd name="T43" fmla="*/ 362 h 465"/>
              <a:gd name="T44" fmla="*/ 204 w 581"/>
              <a:gd name="T45" fmla="*/ 404 h 465"/>
              <a:gd name="T46" fmla="*/ 103 w 581"/>
              <a:gd name="T47" fmla="*/ 362 h 465"/>
              <a:gd name="T48" fmla="*/ 61 w 581"/>
              <a:gd name="T49" fmla="*/ 261 h 465"/>
              <a:gd name="T50" fmla="*/ 103 w 581"/>
              <a:gd name="T51" fmla="*/ 160 h 465"/>
              <a:gd name="T52" fmla="*/ 124 w 581"/>
              <a:gd name="T53" fmla="*/ 143 h 465"/>
              <a:gd name="T54" fmla="*/ 231 w 581"/>
              <a:gd name="T55" fmla="*/ 121 h 465"/>
              <a:gd name="T56" fmla="*/ 322 w 581"/>
              <a:gd name="T57" fmla="*/ 181 h 465"/>
              <a:gd name="T58" fmla="*/ 344 w 581"/>
              <a:gd name="T59" fmla="*/ 288 h 465"/>
              <a:gd name="T60" fmla="*/ 562 w 581"/>
              <a:gd name="T61" fmla="*/ 37 h 465"/>
              <a:gd name="T62" fmla="*/ 498 w 581"/>
              <a:gd name="T63" fmla="*/ 19 h 465"/>
              <a:gd name="T64" fmla="*/ 473 w 581"/>
              <a:gd name="T65" fmla="*/ 19 h 465"/>
              <a:gd name="T66" fmla="*/ 410 w 581"/>
              <a:gd name="T67" fmla="*/ 37 h 465"/>
              <a:gd name="T68" fmla="*/ 391 w 581"/>
              <a:gd name="T69" fmla="*/ 83 h 465"/>
              <a:gd name="T70" fmla="*/ 423 w 581"/>
              <a:gd name="T71" fmla="*/ 140 h 465"/>
              <a:gd name="T72" fmla="*/ 441 w 581"/>
              <a:gd name="T73" fmla="*/ 158 h 465"/>
              <a:gd name="T74" fmla="*/ 498 w 581"/>
              <a:gd name="T75" fmla="*/ 190 h 465"/>
              <a:gd name="T76" fmla="*/ 544 w 581"/>
              <a:gd name="T77" fmla="*/ 171 h 465"/>
              <a:gd name="T78" fmla="*/ 562 w 581"/>
              <a:gd name="T79" fmla="*/ 108 h 465"/>
              <a:gd name="T80" fmla="*/ 562 w 581"/>
              <a:gd name="T81" fmla="*/ 83 h 465"/>
              <a:gd name="T82" fmla="*/ 533 w 581"/>
              <a:gd name="T83" fmla="*/ 142 h 465"/>
              <a:gd name="T84" fmla="*/ 486 w 581"/>
              <a:gd name="T85" fmla="*/ 162 h 465"/>
              <a:gd name="T86" fmla="*/ 439 w 581"/>
              <a:gd name="T87" fmla="*/ 142 h 465"/>
              <a:gd name="T88" fmla="*/ 419 w 581"/>
              <a:gd name="T89" fmla="*/ 95 h 465"/>
              <a:gd name="T90" fmla="*/ 439 w 581"/>
              <a:gd name="T91" fmla="*/ 48 h 465"/>
              <a:gd name="T92" fmla="*/ 449 w 581"/>
              <a:gd name="T93" fmla="*/ 40 h 465"/>
              <a:gd name="T94" fmla="*/ 498 w 581"/>
              <a:gd name="T95" fmla="*/ 30 h 465"/>
              <a:gd name="T96" fmla="*/ 541 w 581"/>
              <a:gd name="T97" fmla="*/ 58 h 465"/>
              <a:gd name="T98" fmla="*/ 551 w 581"/>
              <a:gd name="T99" fmla="*/ 108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81" h="465">
                <a:moveTo>
                  <a:pt x="284" y="219"/>
                </a:moveTo>
                <a:cubicBezTo>
                  <a:pt x="280" y="211"/>
                  <a:pt x="274" y="204"/>
                  <a:pt x="268" y="197"/>
                </a:cubicBezTo>
                <a:cubicBezTo>
                  <a:pt x="261" y="191"/>
                  <a:pt x="254" y="185"/>
                  <a:pt x="246" y="181"/>
                </a:cubicBezTo>
                <a:cubicBezTo>
                  <a:pt x="241" y="179"/>
                  <a:pt x="236" y="177"/>
                  <a:pt x="231" y="175"/>
                </a:cubicBezTo>
                <a:cubicBezTo>
                  <a:pt x="213" y="170"/>
                  <a:pt x="195" y="170"/>
                  <a:pt x="177" y="175"/>
                </a:cubicBezTo>
                <a:cubicBezTo>
                  <a:pt x="172" y="177"/>
                  <a:pt x="167" y="179"/>
                  <a:pt x="162" y="181"/>
                </a:cubicBezTo>
                <a:cubicBezTo>
                  <a:pt x="154" y="185"/>
                  <a:pt x="147" y="191"/>
                  <a:pt x="140" y="197"/>
                </a:cubicBezTo>
                <a:cubicBezTo>
                  <a:pt x="134" y="204"/>
                  <a:pt x="128" y="211"/>
                  <a:pt x="124" y="219"/>
                </a:cubicBezTo>
                <a:cubicBezTo>
                  <a:pt x="122" y="224"/>
                  <a:pt x="120" y="229"/>
                  <a:pt x="118" y="234"/>
                </a:cubicBezTo>
                <a:cubicBezTo>
                  <a:pt x="113" y="252"/>
                  <a:pt x="113" y="270"/>
                  <a:pt x="118" y="288"/>
                </a:cubicBezTo>
                <a:cubicBezTo>
                  <a:pt x="120" y="293"/>
                  <a:pt x="122" y="298"/>
                  <a:pt x="124" y="303"/>
                </a:cubicBezTo>
                <a:cubicBezTo>
                  <a:pt x="128" y="311"/>
                  <a:pt x="134" y="318"/>
                  <a:pt x="140" y="325"/>
                </a:cubicBezTo>
                <a:cubicBezTo>
                  <a:pt x="147" y="331"/>
                  <a:pt x="154" y="337"/>
                  <a:pt x="162" y="341"/>
                </a:cubicBezTo>
                <a:cubicBezTo>
                  <a:pt x="167" y="343"/>
                  <a:pt x="172" y="345"/>
                  <a:pt x="177" y="347"/>
                </a:cubicBezTo>
                <a:cubicBezTo>
                  <a:pt x="195" y="352"/>
                  <a:pt x="213" y="352"/>
                  <a:pt x="231" y="347"/>
                </a:cubicBezTo>
                <a:cubicBezTo>
                  <a:pt x="236" y="345"/>
                  <a:pt x="241" y="343"/>
                  <a:pt x="246" y="341"/>
                </a:cubicBezTo>
                <a:cubicBezTo>
                  <a:pt x="254" y="337"/>
                  <a:pt x="261" y="331"/>
                  <a:pt x="268" y="325"/>
                </a:cubicBezTo>
                <a:cubicBezTo>
                  <a:pt x="274" y="318"/>
                  <a:pt x="280" y="311"/>
                  <a:pt x="284" y="303"/>
                </a:cubicBezTo>
                <a:cubicBezTo>
                  <a:pt x="286" y="298"/>
                  <a:pt x="288" y="293"/>
                  <a:pt x="290" y="288"/>
                </a:cubicBezTo>
                <a:cubicBezTo>
                  <a:pt x="295" y="270"/>
                  <a:pt x="295" y="252"/>
                  <a:pt x="290" y="234"/>
                </a:cubicBezTo>
                <a:cubicBezTo>
                  <a:pt x="288" y="229"/>
                  <a:pt x="286" y="224"/>
                  <a:pt x="284" y="219"/>
                </a:cubicBezTo>
                <a:close/>
                <a:moveTo>
                  <a:pt x="231" y="272"/>
                </a:moveTo>
                <a:cubicBezTo>
                  <a:pt x="215" y="288"/>
                  <a:pt x="215" y="288"/>
                  <a:pt x="215" y="288"/>
                </a:cubicBezTo>
                <a:cubicBezTo>
                  <a:pt x="193" y="288"/>
                  <a:pt x="193" y="288"/>
                  <a:pt x="193" y="288"/>
                </a:cubicBezTo>
                <a:cubicBezTo>
                  <a:pt x="177" y="272"/>
                  <a:pt x="177" y="272"/>
                  <a:pt x="177" y="272"/>
                </a:cubicBezTo>
                <a:cubicBezTo>
                  <a:pt x="177" y="250"/>
                  <a:pt x="177" y="250"/>
                  <a:pt x="177" y="250"/>
                </a:cubicBezTo>
                <a:cubicBezTo>
                  <a:pt x="193" y="234"/>
                  <a:pt x="193" y="234"/>
                  <a:pt x="193" y="234"/>
                </a:cubicBezTo>
                <a:cubicBezTo>
                  <a:pt x="215" y="234"/>
                  <a:pt x="215" y="234"/>
                  <a:pt x="215" y="234"/>
                </a:cubicBezTo>
                <a:cubicBezTo>
                  <a:pt x="231" y="250"/>
                  <a:pt x="231" y="250"/>
                  <a:pt x="231" y="250"/>
                </a:cubicBezTo>
                <a:lnTo>
                  <a:pt x="231" y="272"/>
                </a:lnTo>
                <a:close/>
                <a:moveTo>
                  <a:pt x="339" y="164"/>
                </a:moveTo>
                <a:cubicBezTo>
                  <a:pt x="368" y="136"/>
                  <a:pt x="368" y="136"/>
                  <a:pt x="368" y="136"/>
                </a:cubicBezTo>
                <a:cubicBezTo>
                  <a:pt x="329" y="98"/>
                  <a:pt x="329" y="98"/>
                  <a:pt x="329" y="98"/>
                </a:cubicBezTo>
                <a:cubicBezTo>
                  <a:pt x="301" y="126"/>
                  <a:pt x="301" y="126"/>
                  <a:pt x="301" y="126"/>
                </a:cubicBezTo>
                <a:cubicBezTo>
                  <a:pt x="280" y="110"/>
                  <a:pt x="256" y="101"/>
                  <a:pt x="231" y="97"/>
                </a:cubicBezTo>
                <a:cubicBezTo>
                  <a:pt x="231" y="57"/>
                  <a:pt x="231" y="57"/>
                  <a:pt x="231" y="57"/>
                </a:cubicBezTo>
                <a:cubicBezTo>
                  <a:pt x="177" y="57"/>
                  <a:pt x="177" y="57"/>
                  <a:pt x="177" y="57"/>
                </a:cubicBezTo>
                <a:cubicBezTo>
                  <a:pt x="177" y="97"/>
                  <a:pt x="177" y="97"/>
                  <a:pt x="177" y="97"/>
                </a:cubicBezTo>
                <a:cubicBezTo>
                  <a:pt x="152" y="101"/>
                  <a:pt x="128" y="110"/>
                  <a:pt x="107" y="126"/>
                </a:cubicBezTo>
                <a:cubicBezTo>
                  <a:pt x="79" y="98"/>
                  <a:pt x="79" y="98"/>
                  <a:pt x="79" y="98"/>
                </a:cubicBezTo>
                <a:cubicBezTo>
                  <a:pt x="41" y="136"/>
                  <a:pt x="41" y="136"/>
                  <a:pt x="41" y="136"/>
                </a:cubicBezTo>
                <a:cubicBezTo>
                  <a:pt x="69" y="164"/>
                  <a:pt x="69" y="164"/>
                  <a:pt x="69" y="164"/>
                </a:cubicBezTo>
                <a:cubicBezTo>
                  <a:pt x="53" y="185"/>
                  <a:pt x="44" y="209"/>
                  <a:pt x="40" y="234"/>
                </a:cubicBezTo>
                <a:cubicBezTo>
                  <a:pt x="0" y="234"/>
                  <a:pt x="0" y="234"/>
                  <a:pt x="0" y="234"/>
                </a:cubicBezTo>
                <a:cubicBezTo>
                  <a:pt x="0" y="288"/>
                  <a:pt x="0" y="288"/>
                  <a:pt x="0" y="288"/>
                </a:cubicBezTo>
                <a:cubicBezTo>
                  <a:pt x="40" y="288"/>
                  <a:pt x="40" y="288"/>
                  <a:pt x="40" y="288"/>
                </a:cubicBezTo>
                <a:cubicBezTo>
                  <a:pt x="44" y="313"/>
                  <a:pt x="53" y="337"/>
                  <a:pt x="69" y="358"/>
                </a:cubicBezTo>
                <a:cubicBezTo>
                  <a:pt x="41" y="386"/>
                  <a:pt x="41" y="386"/>
                  <a:pt x="41" y="386"/>
                </a:cubicBezTo>
                <a:cubicBezTo>
                  <a:pt x="79" y="425"/>
                  <a:pt x="79" y="425"/>
                  <a:pt x="79" y="425"/>
                </a:cubicBezTo>
                <a:cubicBezTo>
                  <a:pt x="107" y="396"/>
                  <a:pt x="107" y="396"/>
                  <a:pt x="107" y="396"/>
                </a:cubicBezTo>
                <a:cubicBezTo>
                  <a:pt x="128" y="412"/>
                  <a:pt x="152" y="421"/>
                  <a:pt x="177" y="425"/>
                </a:cubicBezTo>
                <a:cubicBezTo>
                  <a:pt x="177" y="465"/>
                  <a:pt x="177" y="465"/>
                  <a:pt x="177" y="465"/>
                </a:cubicBezTo>
                <a:cubicBezTo>
                  <a:pt x="231" y="465"/>
                  <a:pt x="231" y="465"/>
                  <a:pt x="231" y="465"/>
                </a:cubicBezTo>
                <a:cubicBezTo>
                  <a:pt x="231" y="425"/>
                  <a:pt x="231" y="425"/>
                  <a:pt x="231" y="425"/>
                </a:cubicBezTo>
                <a:cubicBezTo>
                  <a:pt x="256" y="421"/>
                  <a:pt x="280" y="412"/>
                  <a:pt x="301" y="396"/>
                </a:cubicBezTo>
                <a:cubicBezTo>
                  <a:pt x="329" y="425"/>
                  <a:pt x="329" y="425"/>
                  <a:pt x="329" y="425"/>
                </a:cubicBezTo>
                <a:cubicBezTo>
                  <a:pt x="368" y="386"/>
                  <a:pt x="368" y="386"/>
                  <a:pt x="368" y="386"/>
                </a:cubicBezTo>
                <a:cubicBezTo>
                  <a:pt x="339" y="358"/>
                  <a:pt x="339" y="358"/>
                  <a:pt x="339" y="358"/>
                </a:cubicBezTo>
                <a:cubicBezTo>
                  <a:pt x="355" y="337"/>
                  <a:pt x="364" y="313"/>
                  <a:pt x="368" y="288"/>
                </a:cubicBezTo>
                <a:cubicBezTo>
                  <a:pt x="408" y="288"/>
                  <a:pt x="408" y="288"/>
                  <a:pt x="408" y="288"/>
                </a:cubicBezTo>
                <a:cubicBezTo>
                  <a:pt x="408" y="234"/>
                  <a:pt x="408" y="234"/>
                  <a:pt x="408" y="234"/>
                </a:cubicBezTo>
                <a:cubicBezTo>
                  <a:pt x="368" y="234"/>
                  <a:pt x="368" y="234"/>
                  <a:pt x="368" y="234"/>
                </a:cubicBezTo>
                <a:cubicBezTo>
                  <a:pt x="364" y="209"/>
                  <a:pt x="355" y="185"/>
                  <a:pt x="339" y="164"/>
                </a:cubicBezTo>
                <a:close/>
                <a:moveTo>
                  <a:pt x="344" y="288"/>
                </a:moveTo>
                <a:cubicBezTo>
                  <a:pt x="341" y="307"/>
                  <a:pt x="334" y="325"/>
                  <a:pt x="322" y="341"/>
                </a:cubicBezTo>
                <a:cubicBezTo>
                  <a:pt x="317" y="349"/>
                  <a:pt x="312" y="356"/>
                  <a:pt x="305" y="362"/>
                </a:cubicBezTo>
                <a:cubicBezTo>
                  <a:pt x="299" y="369"/>
                  <a:pt x="292" y="374"/>
                  <a:pt x="284" y="379"/>
                </a:cubicBezTo>
                <a:cubicBezTo>
                  <a:pt x="268" y="391"/>
                  <a:pt x="250" y="398"/>
                  <a:pt x="231" y="401"/>
                </a:cubicBezTo>
                <a:cubicBezTo>
                  <a:pt x="222" y="403"/>
                  <a:pt x="213" y="404"/>
                  <a:pt x="204" y="404"/>
                </a:cubicBezTo>
                <a:cubicBezTo>
                  <a:pt x="195" y="404"/>
                  <a:pt x="186" y="403"/>
                  <a:pt x="177" y="401"/>
                </a:cubicBezTo>
                <a:cubicBezTo>
                  <a:pt x="158" y="398"/>
                  <a:pt x="140" y="391"/>
                  <a:pt x="124" y="379"/>
                </a:cubicBezTo>
                <a:cubicBezTo>
                  <a:pt x="116" y="374"/>
                  <a:pt x="109" y="369"/>
                  <a:pt x="103" y="362"/>
                </a:cubicBezTo>
                <a:cubicBezTo>
                  <a:pt x="96" y="356"/>
                  <a:pt x="91" y="349"/>
                  <a:pt x="86" y="341"/>
                </a:cubicBezTo>
                <a:cubicBezTo>
                  <a:pt x="75" y="325"/>
                  <a:pt x="67" y="307"/>
                  <a:pt x="64" y="288"/>
                </a:cubicBezTo>
                <a:cubicBezTo>
                  <a:pt x="62" y="279"/>
                  <a:pt x="61" y="270"/>
                  <a:pt x="61" y="261"/>
                </a:cubicBezTo>
                <a:cubicBezTo>
                  <a:pt x="61" y="252"/>
                  <a:pt x="62" y="243"/>
                  <a:pt x="64" y="234"/>
                </a:cubicBezTo>
                <a:cubicBezTo>
                  <a:pt x="67" y="215"/>
                  <a:pt x="75" y="197"/>
                  <a:pt x="86" y="181"/>
                </a:cubicBezTo>
                <a:cubicBezTo>
                  <a:pt x="91" y="173"/>
                  <a:pt x="96" y="166"/>
                  <a:pt x="103" y="160"/>
                </a:cubicBezTo>
                <a:cubicBezTo>
                  <a:pt x="95" y="152"/>
                  <a:pt x="95" y="152"/>
                  <a:pt x="95" y="152"/>
                </a:cubicBezTo>
                <a:cubicBezTo>
                  <a:pt x="103" y="160"/>
                  <a:pt x="103" y="160"/>
                  <a:pt x="103" y="160"/>
                </a:cubicBezTo>
                <a:cubicBezTo>
                  <a:pt x="109" y="153"/>
                  <a:pt x="116" y="148"/>
                  <a:pt x="124" y="143"/>
                </a:cubicBezTo>
                <a:cubicBezTo>
                  <a:pt x="140" y="131"/>
                  <a:pt x="158" y="124"/>
                  <a:pt x="177" y="121"/>
                </a:cubicBezTo>
                <a:cubicBezTo>
                  <a:pt x="186" y="119"/>
                  <a:pt x="195" y="118"/>
                  <a:pt x="204" y="118"/>
                </a:cubicBezTo>
                <a:cubicBezTo>
                  <a:pt x="213" y="118"/>
                  <a:pt x="222" y="119"/>
                  <a:pt x="231" y="121"/>
                </a:cubicBezTo>
                <a:cubicBezTo>
                  <a:pt x="250" y="124"/>
                  <a:pt x="268" y="131"/>
                  <a:pt x="284" y="143"/>
                </a:cubicBezTo>
                <a:cubicBezTo>
                  <a:pt x="292" y="148"/>
                  <a:pt x="299" y="153"/>
                  <a:pt x="305" y="160"/>
                </a:cubicBezTo>
                <a:cubicBezTo>
                  <a:pt x="312" y="166"/>
                  <a:pt x="317" y="173"/>
                  <a:pt x="322" y="181"/>
                </a:cubicBezTo>
                <a:cubicBezTo>
                  <a:pt x="334" y="197"/>
                  <a:pt x="341" y="215"/>
                  <a:pt x="344" y="234"/>
                </a:cubicBezTo>
                <a:cubicBezTo>
                  <a:pt x="346" y="243"/>
                  <a:pt x="347" y="252"/>
                  <a:pt x="347" y="261"/>
                </a:cubicBezTo>
                <a:cubicBezTo>
                  <a:pt x="347" y="270"/>
                  <a:pt x="346" y="279"/>
                  <a:pt x="344" y="288"/>
                </a:cubicBezTo>
                <a:close/>
                <a:moveTo>
                  <a:pt x="562" y="83"/>
                </a:moveTo>
                <a:cubicBezTo>
                  <a:pt x="560" y="71"/>
                  <a:pt x="556" y="60"/>
                  <a:pt x="549" y="50"/>
                </a:cubicBezTo>
                <a:cubicBezTo>
                  <a:pt x="562" y="37"/>
                  <a:pt x="562" y="37"/>
                  <a:pt x="562" y="37"/>
                </a:cubicBezTo>
                <a:cubicBezTo>
                  <a:pt x="544" y="19"/>
                  <a:pt x="544" y="19"/>
                  <a:pt x="544" y="19"/>
                </a:cubicBezTo>
                <a:cubicBezTo>
                  <a:pt x="531" y="32"/>
                  <a:pt x="531" y="32"/>
                  <a:pt x="531" y="32"/>
                </a:cubicBezTo>
                <a:cubicBezTo>
                  <a:pt x="521" y="25"/>
                  <a:pt x="510" y="21"/>
                  <a:pt x="498" y="19"/>
                </a:cubicBezTo>
                <a:cubicBezTo>
                  <a:pt x="498" y="0"/>
                  <a:pt x="498" y="0"/>
                  <a:pt x="498" y="0"/>
                </a:cubicBezTo>
                <a:cubicBezTo>
                  <a:pt x="473" y="0"/>
                  <a:pt x="473" y="0"/>
                  <a:pt x="473" y="0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62" y="21"/>
                  <a:pt x="451" y="25"/>
                  <a:pt x="441" y="32"/>
                </a:cubicBezTo>
                <a:cubicBezTo>
                  <a:pt x="428" y="19"/>
                  <a:pt x="428" y="19"/>
                  <a:pt x="428" y="19"/>
                </a:cubicBezTo>
                <a:cubicBezTo>
                  <a:pt x="410" y="37"/>
                  <a:pt x="410" y="37"/>
                  <a:pt x="410" y="37"/>
                </a:cubicBezTo>
                <a:cubicBezTo>
                  <a:pt x="423" y="50"/>
                  <a:pt x="423" y="50"/>
                  <a:pt x="423" y="50"/>
                </a:cubicBezTo>
                <a:cubicBezTo>
                  <a:pt x="416" y="60"/>
                  <a:pt x="411" y="71"/>
                  <a:pt x="409" y="83"/>
                </a:cubicBezTo>
                <a:cubicBezTo>
                  <a:pt x="391" y="83"/>
                  <a:pt x="391" y="83"/>
                  <a:pt x="391" y="83"/>
                </a:cubicBezTo>
                <a:cubicBezTo>
                  <a:pt x="391" y="108"/>
                  <a:pt x="391" y="108"/>
                  <a:pt x="391" y="108"/>
                </a:cubicBezTo>
                <a:cubicBezTo>
                  <a:pt x="409" y="108"/>
                  <a:pt x="409" y="108"/>
                  <a:pt x="409" y="108"/>
                </a:cubicBezTo>
                <a:cubicBezTo>
                  <a:pt x="411" y="119"/>
                  <a:pt x="416" y="130"/>
                  <a:pt x="423" y="140"/>
                </a:cubicBezTo>
                <a:cubicBezTo>
                  <a:pt x="410" y="153"/>
                  <a:pt x="410" y="153"/>
                  <a:pt x="410" y="153"/>
                </a:cubicBezTo>
                <a:cubicBezTo>
                  <a:pt x="428" y="171"/>
                  <a:pt x="428" y="171"/>
                  <a:pt x="428" y="171"/>
                </a:cubicBezTo>
                <a:cubicBezTo>
                  <a:pt x="441" y="158"/>
                  <a:pt x="441" y="158"/>
                  <a:pt x="441" y="158"/>
                </a:cubicBezTo>
                <a:cubicBezTo>
                  <a:pt x="451" y="165"/>
                  <a:pt x="462" y="170"/>
                  <a:pt x="473" y="172"/>
                </a:cubicBezTo>
                <a:cubicBezTo>
                  <a:pt x="473" y="190"/>
                  <a:pt x="473" y="190"/>
                  <a:pt x="473" y="190"/>
                </a:cubicBezTo>
                <a:cubicBezTo>
                  <a:pt x="498" y="190"/>
                  <a:pt x="498" y="190"/>
                  <a:pt x="498" y="190"/>
                </a:cubicBezTo>
                <a:cubicBezTo>
                  <a:pt x="498" y="172"/>
                  <a:pt x="498" y="172"/>
                  <a:pt x="498" y="172"/>
                </a:cubicBezTo>
                <a:cubicBezTo>
                  <a:pt x="510" y="170"/>
                  <a:pt x="521" y="165"/>
                  <a:pt x="531" y="158"/>
                </a:cubicBezTo>
                <a:cubicBezTo>
                  <a:pt x="544" y="171"/>
                  <a:pt x="544" y="171"/>
                  <a:pt x="544" y="171"/>
                </a:cubicBezTo>
                <a:cubicBezTo>
                  <a:pt x="562" y="153"/>
                  <a:pt x="562" y="153"/>
                  <a:pt x="562" y="153"/>
                </a:cubicBezTo>
                <a:cubicBezTo>
                  <a:pt x="549" y="140"/>
                  <a:pt x="549" y="140"/>
                  <a:pt x="549" y="140"/>
                </a:cubicBezTo>
                <a:cubicBezTo>
                  <a:pt x="556" y="130"/>
                  <a:pt x="560" y="119"/>
                  <a:pt x="562" y="108"/>
                </a:cubicBezTo>
                <a:cubicBezTo>
                  <a:pt x="581" y="108"/>
                  <a:pt x="581" y="108"/>
                  <a:pt x="581" y="108"/>
                </a:cubicBezTo>
                <a:cubicBezTo>
                  <a:pt x="581" y="83"/>
                  <a:pt x="581" y="83"/>
                  <a:pt x="581" y="83"/>
                </a:cubicBezTo>
                <a:lnTo>
                  <a:pt x="562" y="83"/>
                </a:lnTo>
                <a:close/>
                <a:moveTo>
                  <a:pt x="551" y="108"/>
                </a:moveTo>
                <a:cubicBezTo>
                  <a:pt x="549" y="116"/>
                  <a:pt x="546" y="125"/>
                  <a:pt x="541" y="132"/>
                </a:cubicBezTo>
                <a:cubicBezTo>
                  <a:pt x="539" y="136"/>
                  <a:pt x="536" y="139"/>
                  <a:pt x="533" y="142"/>
                </a:cubicBezTo>
                <a:cubicBezTo>
                  <a:pt x="530" y="145"/>
                  <a:pt x="527" y="148"/>
                  <a:pt x="523" y="150"/>
                </a:cubicBezTo>
                <a:cubicBezTo>
                  <a:pt x="516" y="155"/>
                  <a:pt x="507" y="159"/>
                  <a:pt x="498" y="160"/>
                </a:cubicBezTo>
                <a:cubicBezTo>
                  <a:pt x="494" y="161"/>
                  <a:pt x="490" y="162"/>
                  <a:pt x="486" y="162"/>
                </a:cubicBezTo>
                <a:cubicBezTo>
                  <a:pt x="482" y="162"/>
                  <a:pt x="477" y="161"/>
                  <a:pt x="473" y="160"/>
                </a:cubicBezTo>
                <a:cubicBezTo>
                  <a:pt x="465" y="159"/>
                  <a:pt x="456" y="155"/>
                  <a:pt x="449" y="150"/>
                </a:cubicBezTo>
                <a:cubicBezTo>
                  <a:pt x="445" y="148"/>
                  <a:pt x="442" y="145"/>
                  <a:pt x="439" y="142"/>
                </a:cubicBezTo>
                <a:cubicBezTo>
                  <a:pt x="436" y="139"/>
                  <a:pt x="433" y="136"/>
                  <a:pt x="431" y="132"/>
                </a:cubicBezTo>
                <a:cubicBezTo>
                  <a:pt x="426" y="125"/>
                  <a:pt x="422" y="116"/>
                  <a:pt x="421" y="108"/>
                </a:cubicBezTo>
                <a:cubicBezTo>
                  <a:pt x="420" y="104"/>
                  <a:pt x="419" y="99"/>
                  <a:pt x="419" y="95"/>
                </a:cubicBezTo>
                <a:cubicBezTo>
                  <a:pt x="419" y="91"/>
                  <a:pt x="420" y="87"/>
                  <a:pt x="421" y="83"/>
                </a:cubicBezTo>
                <a:cubicBezTo>
                  <a:pt x="422" y="74"/>
                  <a:pt x="426" y="65"/>
                  <a:pt x="431" y="58"/>
                </a:cubicBezTo>
                <a:cubicBezTo>
                  <a:pt x="433" y="54"/>
                  <a:pt x="436" y="51"/>
                  <a:pt x="439" y="48"/>
                </a:cubicBezTo>
                <a:cubicBezTo>
                  <a:pt x="435" y="44"/>
                  <a:pt x="435" y="44"/>
                  <a:pt x="435" y="44"/>
                </a:cubicBezTo>
                <a:cubicBezTo>
                  <a:pt x="439" y="48"/>
                  <a:pt x="439" y="48"/>
                  <a:pt x="439" y="48"/>
                </a:cubicBezTo>
                <a:cubicBezTo>
                  <a:pt x="442" y="45"/>
                  <a:pt x="445" y="42"/>
                  <a:pt x="449" y="40"/>
                </a:cubicBezTo>
                <a:cubicBezTo>
                  <a:pt x="456" y="35"/>
                  <a:pt x="465" y="32"/>
                  <a:pt x="473" y="30"/>
                </a:cubicBezTo>
                <a:cubicBezTo>
                  <a:pt x="477" y="29"/>
                  <a:pt x="482" y="29"/>
                  <a:pt x="486" y="29"/>
                </a:cubicBezTo>
                <a:cubicBezTo>
                  <a:pt x="490" y="29"/>
                  <a:pt x="494" y="29"/>
                  <a:pt x="498" y="30"/>
                </a:cubicBezTo>
                <a:cubicBezTo>
                  <a:pt x="507" y="32"/>
                  <a:pt x="516" y="35"/>
                  <a:pt x="523" y="40"/>
                </a:cubicBezTo>
                <a:cubicBezTo>
                  <a:pt x="527" y="42"/>
                  <a:pt x="530" y="45"/>
                  <a:pt x="533" y="48"/>
                </a:cubicBezTo>
                <a:cubicBezTo>
                  <a:pt x="536" y="51"/>
                  <a:pt x="539" y="54"/>
                  <a:pt x="541" y="58"/>
                </a:cubicBezTo>
                <a:cubicBezTo>
                  <a:pt x="546" y="65"/>
                  <a:pt x="549" y="74"/>
                  <a:pt x="551" y="83"/>
                </a:cubicBezTo>
                <a:cubicBezTo>
                  <a:pt x="552" y="87"/>
                  <a:pt x="552" y="91"/>
                  <a:pt x="552" y="95"/>
                </a:cubicBezTo>
                <a:cubicBezTo>
                  <a:pt x="552" y="99"/>
                  <a:pt x="552" y="104"/>
                  <a:pt x="551" y="108"/>
                </a:cubicBezTo>
                <a:close/>
              </a:path>
            </a:pathLst>
          </a:custGeom>
          <a:solidFill>
            <a:srgbClr val="3F80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5E5163B9-B3D3-4AE2-AF17-6E6AA3FCD2CF}"/>
              </a:ext>
            </a:extLst>
          </p:cNvPr>
          <p:cNvSpPr txBox="1"/>
          <p:nvPr/>
        </p:nvSpPr>
        <p:spPr>
          <a:xfrm>
            <a:off x="1555133" y="2698121"/>
            <a:ext cx="3246402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是闭环，要有明显的箭头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用标题表示循环关系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用双向箭头表示双向循环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C812557-2361-4495-8159-75A4757FD1DC}"/>
              </a:ext>
            </a:extLst>
          </p:cNvPr>
          <p:cNvSpPr txBox="1"/>
          <p:nvPr/>
        </p:nvSpPr>
        <p:spPr>
          <a:xfrm>
            <a:off x="1558953" y="4458055"/>
            <a:ext cx="146706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特征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闭环和箭头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c 682">
            <a:extLst>
              <a:ext uri="{FF2B5EF4-FFF2-40B4-BE49-F238E27FC236}">
                <a16:creationId xmlns:a16="http://schemas.microsoft.com/office/drawing/2014/main" id="{1741DA84-193E-45B1-9A37-242CD4BCC4C1}"/>
              </a:ext>
            </a:extLst>
          </p:cNvPr>
          <p:cNvSpPr>
            <a:spLocks/>
          </p:cNvSpPr>
          <p:nvPr/>
        </p:nvSpPr>
        <p:spPr bwMode="auto">
          <a:xfrm rot="18746405">
            <a:off x="5870450" y="1185863"/>
            <a:ext cx="1014413" cy="1003300"/>
          </a:xfrm>
          <a:custGeom>
            <a:avLst/>
            <a:gdLst>
              <a:gd name="T0" fmla="*/ 7139448 w 21600"/>
              <a:gd name="T1" fmla="*/ 0 h 21356"/>
              <a:gd name="T2" fmla="*/ 47640451 w 21600"/>
              <a:gd name="T3" fmla="*/ 47134805 h 21356"/>
              <a:gd name="T4" fmla="*/ 0 w 21600"/>
              <a:gd name="T5" fmla="*/ 47134805 h 21356"/>
              <a:gd name="T6" fmla="*/ 0 60000 65536"/>
              <a:gd name="T7" fmla="*/ 0 60000 65536"/>
              <a:gd name="T8" fmla="*/ 0 60000 65536"/>
              <a:gd name="T9" fmla="*/ 0 w 21600"/>
              <a:gd name="T10" fmla="*/ 0 h 21356"/>
              <a:gd name="T11" fmla="*/ 21600 w 21600"/>
              <a:gd name="T12" fmla="*/ 21356 h 2135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356" fill="none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</a:path>
              <a:path w="21600" h="21356" stroke="0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  <a:lnTo>
                  <a:pt x="0" y="21356"/>
                </a:lnTo>
                <a:lnTo>
                  <a:pt x="3237" y="-1"/>
                </a:lnTo>
                <a:close/>
              </a:path>
            </a:pathLst>
          </a:custGeom>
          <a:noFill/>
          <a:ln w="76200">
            <a:solidFill>
              <a:srgbClr val="E89424"/>
            </a:solidFill>
            <a:prstDash val="solid"/>
            <a:round/>
            <a:headEnd w="lg" len="lg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Freeform 673">
            <a:extLst>
              <a:ext uri="{FF2B5EF4-FFF2-40B4-BE49-F238E27FC236}">
                <a16:creationId xmlns:a16="http://schemas.microsoft.com/office/drawing/2014/main" id="{181E8738-3AFC-46A2-A993-4B13251FE4CA}"/>
              </a:ext>
            </a:extLst>
          </p:cNvPr>
          <p:cNvSpPr>
            <a:spLocks noEditPoints="1"/>
          </p:cNvSpPr>
          <p:nvPr/>
        </p:nvSpPr>
        <p:spPr bwMode="auto">
          <a:xfrm rot="21275257">
            <a:off x="6520532" y="1645444"/>
            <a:ext cx="2628900" cy="2630487"/>
          </a:xfrm>
          <a:custGeom>
            <a:avLst/>
            <a:gdLst>
              <a:gd name="T0" fmla="*/ 2469660 w 1816"/>
              <a:gd name="T1" fmla="*/ 1147217 h 1816"/>
              <a:gd name="T2" fmla="*/ 2487032 w 1816"/>
              <a:gd name="T3" fmla="*/ 715562 h 1816"/>
              <a:gd name="T4" fmla="*/ 2246725 w 1816"/>
              <a:gd name="T5" fmla="*/ 614167 h 1816"/>
              <a:gd name="T6" fmla="*/ 2064323 w 1816"/>
              <a:gd name="T7" fmla="*/ 420067 h 1816"/>
              <a:gd name="T8" fmla="*/ 1910874 w 1816"/>
              <a:gd name="T9" fmla="*/ 139057 h 1816"/>
              <a:gd name="T10" fmla="*/ 1543176 w 1816"/>
              <a:gd name="T11" fmla="*/ 168027 h 1816"/>
              <a:gd name="T12" fmla="*/ 1210220 w 1816"/>
              <a:gd name="T13" fmla="*/ 150645 h 1816"/>
              <a:gd name="T14" fmla="*/ 964123 w 1816"/>
              <a:gd name="T15" fmla="*/ 199894 h 1816"/>
              <a:gd name="T16" fmla="*/ 718026 w 1816"/>
              <a:gd name="T17" fmla="*/ 309980 h 1816"/>
              <a:gd name="T18" fmla="*/ 312689 w 1816"/>
              <a:gd name="T19" fmla="*/ 457728 h 1816"/>
              <a:gd name="T20" fmla="*/ 309793 w 1816"/>
              <a:gd name="T21" fmla="*/ 718459 h 1816"/>
              <a:gd name="T22" fmla="*/ 199773 w 1816"/>
              <a:gd name="T23" fmla="*/ 964705 h 1816"/>
              <a:gd name="T24" fmla="*/ 0 w 1816"/>
              <a:gd name="T25" fmla="*/ 1210951 h 1816"/>
              <a:gd name="T26" fmla="*/ 167925 w 1816"/>
              <a:gd name="T27" fmla="*/ 1544107 h 1816"/>
              <a:gd name="T28" fmla="*/ 277945 w 1816"/>
              <a:gd name="T29" fmla="*/ 1854088 h 1816"/>
              <a:gd name="T30" fmla="*/ 416918 w 1816"/>
              <a:gd name="T31" fmla="*/ 2065570 h 1816"/>
              <a:gd name="T32" fmla="*/ 613796 w 1816"/>
              <a:gd name="T33" fmla="*/ 2250978 h 1816"/>
              <a:gd name="T34" fmla="*/ 906218 w 1816"/>
              <a:gd name="T35" fmla="*/ 2569650 h 1816"/>
              <a:gd name="T36" fmla="*/ 1146525 w 1816"/>
              <a:gd name="T37" fmla="*/ 2471151 h 1816"/>
              <a:gd name="T38" fmla="*/ 1415784 w 1816"/>
              <a:gd name="T39" fmla="*/ 2479842 h 1816"/>
              <a:gd name="T40" fmla="*/ 1719787 w 1816"/>
              <a:gd name="T41" fmla="*/ 2569650 h 1816"/>
              <a:gd name="T42" fmla="*/ 1962989 w 1816"/>
              <a:gd name="T43" fmla="*/ 2285743 h 1816"/>
              <a:gd name="T44" fmla="*/ 2209087 w 1816"/>
              <a:gd name="T45" fmla="*/ 2065570 h 1816"/>
              <a:gd name="T46" fmla="*/ 2348059 w 1816"/>
              <a:gd name="T47" fmla="*/ 1854088 h 1816"/>
              <a:gd name="T48" fmla="*/ 2443603 w 1816"/>
              <a:gd name="T49" fmla="*/ 1604945 h 1816"/>
              <a:gd name="T50" fmla="*/ 1314450 w 1816"/>
              <a:gd name="T51" fmla="*/ 2337889 h 1816"/>
              <a:gd name="T52" fmla="*/ 1108886 w 1816"/>
              <a:gd name="T53" fmla="*/ 2317610 h 1816"/>
              <a:gd name="T54" fmla="*/ 871475 w 1816"/>
              <a:gd name="T55" fmla="*/ 2236493 h 1816"/>
              <a:gd name="T56" fmla="*/ 663016 w 1816"/>
              <a:gd name="T57" fmla="*/ 2103231 h 1816"/>
              <a:gd name="T58" fmla="*/ 495090 w 1816"/>
              <a:gd name="T59" fmla="*/ 1926513 h 1816"/>
              <a:gd name="T60" fmla="*/ 370594 w 1816"/>
              <a:gd name="T61" fmla="*/ 1712134 h 1816"/>
              <a:gd name="T62" fmla="*/ 304003 w 1816"/>
              <a:gd name="T63" fmla="*/ 1471682 h 1816"/>
              <a:gd name="T64" fmla="*/ 292422 w 1816"/>
              <a:gd name="T65" fmla="*/ 1263097 h 1816"/>
              <a:gd name="T66" fmla="*/ 338746 w 1816"/>
              <a:gd name="T67" fmla="*/ 1011057 h 1816"/>
              <a:gd name="T68" fmla="*/ 440080 w 1816"/>
              <a:gd name="T69" fmla="*/ 785090 h 1816"/>
              <a:gd name="T70" fmla="*/ 590634 w 1816"/>
              <a:gd name="T71" fmla="*/ 590990 h 1816"/>
              <a:gd name="T72" fmla="*/ 784617 w 1816"/>
              <a:gd name="T73" fmla="*/ 440346 h 1816"/>
              <a:gd name="T74" fmla="*/ 1010447 w 1816"/>
              <a:gd name="T75" fmla="*/ 338950 h 1816"/>
              <a:gd name="T76" fmla="*/ 1262335 w 1816"/>
              <a:gd name="T77" fmla="*/ 292598 h 1816"/>
              <a:gd name="T78" fmla="*/ 1467899 w 1816"/>
              <a:gd name="T79" fmla="*/ 304186 h 1816"/>
              <a:gd name="T80" fmla="*/ 1711101 w 1816"/>
              <a:gd name="T81" fmla="*/ 373715 h 1816"/>
              <a:gd name="T82" fmla="*/ 1925351 w 1816"/>
              <a:gd name="T83" fmla="*/ 495389 h 1816"/>
              <a:gd name="T84" fmla="*/ 2101962 w 1816"/>
              <a:gd name="T85" fmla="*/ 663416 h 1816"/>
              <a:gd name="T86" fmla="*/ 2235144 w 1816"/>
              <a:gd name="T87" fmla="*/ 872001 h 1816"/>
              <a:gd name="T88" fmla="*/ 2313316 w 1816"/>
              <a:gd name="T89" fmla="*/ 1109556 h 1816"/>
              <a:gd name="T90" fmla="*/ 2336478 w 1816"/>
              <a:gd name="T91" fmla="*/ 1315244 h 1816"/>
              <a:gd name="T92" fmla="*/ 2304630 w 1816"/>
              <a:gd name="T93" fmla="*/ 1570181 h 1816"/>
              <a:gd name="T94" fmla="*/ 2211982 w 1816"/>
              <a:gd name="T95" fmla="*/ 1801942 h 1816"/>
              <a:gd name="T96" fmla="*/ 2070114 w 1816"/>
              <a:gd name="T97" fmla="*/ 2001835 h 1816"/>
              <a:gd name="T98" fmla="*/ 1884817 w 1816"/>
              <a:gd name="T99" fmla="*/ 2161171 h 1816"/>
              <a:gd name="T100" fmla="*/ 1664777 w 1816"/>
              <a:gd name="T101" fmla="*/ 2274155 h 1816"/>
              <a:gd name="T102" fmla="*/ 1418680 w 1816"/>
              <a:gd name="T103" fmla="*/ 2332095 h 181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816"/>
              <a:gd name="T157" fmla="*/ 0 h 1816"/>
              <a:gd name="T158" fmla="*/ 1816 w 1816"/>
              <a:gd name="T159" fmla="*/ 1816 h 181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816" h="1816">
                <a:moveTo>
                  <a:pt x="1816" y="978"/>
                </a:moveTo>
                <a:lnTo>
                  <a:pt x="1816" y="836"/>
                </a:lnTo>
                <a:lnTo>
                  <a:pt x="1710" y="836"/>
                </a:lnTo>
                <a:lnTo>
                  <a:pt x="1706" y="792"/>
                </a:lnTo>
                <a:lnTo>
                  <a:pt x="1698" y="750"/>
                </a:lnTo>
                <a:lnTo>
                  <a:pt x="1688" y="708"/>
                </a:lnTo>
                <a:lnTo>
                  <a:pt x="1678" y="666"/>
                </a:lnTo>
                <a:lnTo>
                  <a:pt x="1774" y="626"/>
                </a:lnTo>
                <a:lnTo>
                  <a:pt x="1718" y="494"/>
                </a:lnTo>
                <a:lnTo>
                  <a:pt x="1622" y="534"/>
                </a:lnTo>
                <a:lnTo>
                  <a:pt x="1602" y="496"/>
                </a:lnTo>
                <a:lnTo>
                  <a:pt x="1578" y="460"/>
                </a:lnTo>
                <a:lnTo>
                  <a:pt x="1552" y="424"/>
                </a:lnTo>
                <a:lnTo>
                  <a:pt x="1526" y="390"/>
                </a:lnTo>
                <a:lnTo>
                  <a:pt x="1600" y="316"/>
                </a:lnTo>
                <a:lnTo>
                  <a:pt x="1498" y="216"/>
                </a:lnTo>
                <a:lnTo>
                  <a:pt x="1426" y="290"/>
                </a:lnTo>
                <a:lnTo>
                  <a:pt x="1392" y="262"/>
                </a:lnTo>
                <a:lnTo>
                  <a:pt x="1356" y="236"/>
                </a:lnTo>
                <a:lnTo>
                  <a:pt x="1318" y="214"/>
                </a:lnTo>
                <a:lnTo>
                  <a:pt x="1280" y="192"/>
                </a:lnTo>
                <a:lnTo>
                  <a:pt x="1320" y="96"/>
                </a:lnTo>
                <a:lnTo>
                  <a:pt x="1188" y="42"/>
                </a:lnTo>
                <a:lnTo>
                  <a:pt x="1150" y="138"/>
                </a:lnTo>
                <a:lnTo>
                  <a:pt x="1108" y="126"/>
                </a:lnTo>
                <a:lnTo>
                  <a:pt x="1066" y="116"/>
                </a:lnTo>
                <a:lnTo>
                  <a:pt x="1022" y="110"/>
                </a:lnTo>
                <a:lnTo>
                  <a:pt x="978" y="104"/>
                </a:lnTo>
                <a:lnTo>
                  <a:pt x="978" y="0"/>
                </a:lnTo>
                <a:lnTo>
                  <a:pt x="836" y="0"/>
                </a:lnTo>
                <a:lnTo>
                  <a:pt x="836" y="104"/>
                </a:lnTo>
                <a:lnTo>
                  <a:pt x="792" y="110"/>
                </a:lnTo>
                <a:lnTo>
                  <a:pt x="750" y="116"/>
                </a:lnTo>
                <a:lnTo>
                  <a:pt x="706" y="126"/>
                </a:lnTo>
                <a:lnTo>
                  <a:pt x="666" y="138"/>
                </a:lnTo>
                <a:lnTo>
                  <a:pt x="626" y="42"/>
                </a:lnTo>
                <a:lnTo>
                  <a:pt x="494" y="96"/>
                </a:lnTo>
                <a:lnTo>
                  <a:pt x="534" y="192"/>
                </a:lnTo>
                <a:lnTo>
                  <a:pt x="496" y="214"/>
                </a:lnTo>
                <a:lnTo>
                  <a:pt x="460" y="236"/>
                </a:lnTo>
                <a:lnTo>
                  <a:pt x="424" y="262"/>
                </a:lnTo>
                <a:lnTo>
                  <a:pt x="390" y="290"/>
                </a:lnTo>
                <a:lnTo>
                  <a:pt x="316" y="216"/>
                </a:lnTo>
                <a:lnTo>
                  <a:pt x="216" y="316"/>
                </a:lnTo>
                <a:lnTo>
                  <a:pt x="288" y="390"/>
                </a:lnTo>
                <a:lnTo>
                  <a:pt x="262" y="424"/>
                </a:lnTo>
                <a:lnTo>
                  <a:pt x="236" y="460"/>
                </a:lnTo>
                <a:lnTo>
                  <a:pt x="214" y="496"/>
                </a:lnTo>
                <a:lnTo>
                  <a:pt x="192" y="534"/>
                </a:lnTo>
                <a:lnTo>
                  <a:pt x="96" y="494"/>
                </a:lnTo>
                <a:lnTo>
                  <a:pt x="42" y="626"/>
                </a:lnTo>
                <a:lnTo>
                  <a:pt x="138" y="666"/>
                </a:lnTo>
                <a:lnTo>
                  <a:pt x="126" y="708"/>
                </a:lnTo>
                <a:lnTo>
                  <a:pt x="116" y="750"/>
                </a:lnTo>
                <a:lnTo>
                  <a:pt x="108" y="792"/>
                </a:lnTo>
                <a:lnTo>
                  <a:pt x="104" y="836"/>
                </a:lnTo>
                <a:lnTo>
                  <a:pt x="0" y="836"/>
                </a:lnTo>
                <a:lnTo>
                  <a:pt x="0" y="978"/>
                </a:lnTo>
                <a:lnTo>
                  <a:pt x="104" y="978"/>
                </a:lnTo>
                <a:lnTo>
                  <a:pt x="108" y="1022"/>
                </a:lnTo>
                <a:lnTo>
                  <a:pt x="116" y="1066"/>
                </a:lnTo>
                <a:lnTo>
                  <a:pt x="126" y="1108"/>
                </a:lnTo>
                <a:lnTo>
                  <a:pt x="138" y="1150"/>
                </a:lnTo>
                <a:lnTo>
                  <a:pt x="42" y="1190"/>
                </a:lnTo>
                <a:lnTo>
                  <a:pt x="96" y="1320"/>
                </a:lnTo>
                <a:lnTo>
                  <a:pt x="192" y="1280"/>
                </a:lnTo>
                <a:lnTo>
                  <a:pt x="214" y="1320"/>
                </a:lnTo>
                <a:lnTo>
                  <a:pt x="236" y="1356"/>
                </a:lnTo>
                <a:lnTo>
                  <a:pt x="262" y="1392"/>
                </a:lnTo>
                <a:lnTo>
                  <a:pt x="288" y="1426"/>
                </a:lnTo>
                <a:lnTo>
                  <a:pt x="216" y="1500"/>
                </a:lnTo>
                <a:lnTo>
                  <a:pt x="316" y="1600"/>
                </a:lnTo>
                <a:lnTo>
                  <a:pt x="390" y="1526"/>
                </a:lnTo>
                <a:lnTo>
                  <a:pt x="424" y="1554"/>
                </a:lnTo>
                <a:lnTo>
                  <a:pt x="460" y="1578"/>
                </a:lnTo>
                <a:lnTo>
                  <a:pt x="496" y="1602"/>
                </a:lnTo>
                <a:lnTo>
                  <a:pt x="534" y="1622"/>
                </a:lnTo>
                <a:lnTo>
                  <a:pt x="494" y="1718"/>
                </a:lnTo>
                <a:lnTo>
                  <a:pt x="626" y="1774"/>
                </a:lnTo>
                <a:lnTo>
                  <a:pt x="666" y="1678"/>
                </a:lnTo>
                <a:lnTo>
                  <a:pt x="706" y="1690"/>
                </a:lnTo>
                <a:lnTo>
                  <a:pt x="750" y="1698"/>
                </a:lnTo>
                <a:lnTo>
                  <a:pt x="792" y="1706"/>
                </a:lnTo>
                <a:lnTo>
                  <a:pt x="836" y="1712"/>
                </a:lnTo>
                <a:lnTo>
                  <a:pt x="836" y="1816"/>
                </a:lnTo>
                <a:lnTo>
                  <a:pt x="978" y="1816"/>
                </a:lnTo>
                <a:lnTo>
                  <a:pt x="978" y="1712"/>
                </a:lnTo>
                <a:lnTo>
                  <a:pt x="1022" y="1706"/>
                </a:lnTo>
                <a:lnTo>
                  <a:pt x="1066" y="1698"/>
                </a:lnTo>
                <a:lnTo>
                  <a:pt x="1108" y="1690"/>
                </a:lnTo>
                <a:lnTo>
                  <a:pt x="1150" y="1678"/>
                </a:lnTo>
                <a:lnTo>
                  <a:pt x="1188" y="1774"/>
                </a:lnTo>
                <a:lnTo>
                  <a:pt x="1320" y="1718"/>
                </a:lnTo>
                <a:lnTo>
                  <a:pt x="1280" y="1622"/>
                </a:lnTo>
                <a:lnTo>
                  <a:pt x="1318" y="1602"/>
                </a:lnTo>
                <a:lnTo>
                  <a:pt x="1356" y="1578"/>
                </a:lnTo>
                <a:lnTo>
                  <a:pt x="1392" y="1554"/>
                </a:lnTo>
                <a:lnTo>
                  <a:pt x="1426" y="1526"/>
                </a:lnTo>
                <a:lnTo>
                  <a:pt x="1498" y="1600"/>
                </a:lnTo>
                <a:lnTo>
                  <a:pt x="1600" y="1500"/>
                </a:lnTo>
                <a:lnTo>
                  <a:pt x="1526" y="1426"/>
                </a:lnTo>
                <a:lnTo>
                  <a:pt x="1552" y="1392"/>
                </a:lnTo>
                <a:lnTo>
                  <a:pt x="1578" y="1356"/>
                </a:lnTo>
                <a:lnTo>
                  <a:pt x="1602" y="1320"/>
                </a:lnTo>
                <a:lnTo>
                  <a:pt x="1622" y="1280"/>
                </a:lnTo>
                <a:lnTo>
                  <a:pt x="1718" y="1320"/>
                </a:lnTo>
                <a:lnTo>
                  <a:pt x="1774" y="1190"/>
                </a:lnTo>
                <a:lnTo>
                  <a:pt x="1678" y="1150"/>
                </a:lnTo>
                <a:lnTo>
                  <a:pt x="1688" y="1108"/>
                </a:lnTo>
                <a:lnTo>
                  <a:pt x="1698" y="1066"/>
                </a:lnTo>
                <a:lnTo>
                  <a:pt x="1706" y="1022"/>
                </a:lnTo>
                <a:lnTo>
                  <a:pt x="1710" y="978"/>
                </a:lnTo>
                <a:lnTo>
                  <a:pt x="1816" y="978"/>
                </a:lnTo>
                <a:close/>
                <a:moveTo>
                  <a:pt x="908" y="1614"/>
                </a:moveTo>
                <a:lnTo>
                  <a:pt x="908" y="1614"/>
                </a:lnTo>
                <a:lnTo>
                  <a:pt x="872" y="1612"/>
                </a:lnTo>
                <a:lnTo>
                  <a:pt x="836" y="1610"/>
                </a:lnTo>
                <a:lnTo>
                  <a:pt x="800" y="1606"/>
                </a:lnTo>
                <a:lnTo>
                  <a:pt x="766" y="1600"/>
                </a:lnTo>
                <a:lnTo>
                  <a:pt x="730" y="1592"/>
                </a:lnTo>
                <a:lnTo>
                  <a:pt x="698" y="1582"/>
                </a:lnTo>
                <a:lnTo>
                  <a:pt x="664" y="1570"/>
                </a:lnTo>
                <a:lnTo>
                  <a:pt x="632" y="1558"/>
                </a:lnTo>
                <a:lnTo>
                  <a:pt x="602" y="1544"/>
                </a:lnTo>
                <a:lnTo>
                  <a:pt x="570" y="1528"/>
                </a:lnTo>
                <a:lnTo>
                  <a:pt x="542" y="1512"/>
                </a:lnTo>
                <a:lnTo>
                  <a:pt x="512" y="1492"/>
                </a:lnTo>
                <a:lnTo>
                  <a:pt x="484" y="1474"/>
                </a:lnTo>
                <a:lnTo>
                  <a:pt x="458" y="1452"/>
                </a:lnTo>
                <a:lnTo>
                  <a:pt x="432" y="1430"/>
                </a:lnTo>
                <a:lnTo>
                  <a:pt x="408" y="1406"/>
                </a:lnTo>
                <a:lnTo>
                  <a:pt x="384" y="1382"/>
                </a:lnTo>
                <a:lnTo>
                  <a:pt x="362" y="1356"/>
                </a:lnTo>
                <a:lnTo>
                  <a:pt x="342" y="1330"/>
                </a:lnTo>
                <a:lnTo>
                  <a:pt x="322" y="1302"/>
                </a:lnTo>
                <a:lnTo>
                  <a:pt x="304" y="1274"/>
                </a:lnTo>
                <a:lnTo>
                  <a:pt x="286" y="1244"/>
                </a:lnTo>
                <a:lnTo>
                  <a:pt x="272" y="1214"/>
                </a:lnTo>
                <a:lnTo>
                  <a:pt x="256" y="1182"/>
                </a:lnTo>
                <a:lnTo>
                  <a:pt x="244" y="1150"/>
                </a:lnTo>
                <a:lnTo>
                  <a:pt x="234" y="1118"/>
                </a:lnTo>
                <a:lnTo>
                  <a:pt x="224" y="1084"/>
                </a:lnTo>
                <a:lnTo>
                  <a:pt x="216" y="1050"/>
                </a:lnTo>
                <a:lnTo>
                  <a:pt x="210" y="1016"/>
                </a:lnTo>
                <a:lnTo>
                  <a:pt x="206" y="980"/>
                </a:lnTo>
                <a:lnTo>
                  <a:pt x="202" y="944"/>
                </a:lnTo>
                <a:lnTo>
                  <a:pt x="202" y="908"/>
                </a:lnTo>
                <a:lnTo>
                  <a:pt x="202" y="872"/>
                </a:lnTo>
                <a:lnTo>
                  <a:pt x="206" y="836"/>
                </a:lnTo>
                <a:lnTo>
                  <a:pt x="210" y="800"/>
                </a:lnTo>
                <a:lnTo>
                  <a:pt x="216" y="766"/>
                </a:lnTo>
                <a:lnTo>
                  <a:pt x="224" y="732"/>
                </a:lnTo>
                <a:lnTo>
                  <a:pt x="234" y="698"/>
                </a:lnTo>
                <a:lnTo>
                  <a:pt x="244" y="664"/>
                </a:lnTo>
                <a:lnTo>
                  <a:pt x="256" y="632"/>
                </a:lnTo>
                <a:lnTo>
                  <a:pt x="272" y="602"/>
                </a:lnTo>
                <a:lnTo>
                  <a:pt x="286" y="572"/>
                </a:lnTo>
                <a:lnTo>
                  <a:pt x="304" y="542"/>
                </a:lnTo>
                <a:lnTo>
                  <a:pt x="322" y="512"/>
                </a:lnTo>
                <a:lnTo>
                  <a:pt x="342" y="486"/>
                </a:lnTo>
                <a:lnTo>
                  <a:pt x="362" y="458"/>
                </a:lnTo>
                <a:lnTo>
                  <a:pt x="384" y="432"/>
                </a:lnTo>
                <a:lnTo>
                  <a:pt x="408" y="408"/>
                </a:lnTo>
                <a:lnTo>
                  <a:pt x="432" y="386"/>
                </a:lnTo>
                <a:lnTo>
                  <a:pt x="458" y="362"/>
                </a:lnTo>
                <a:lnTo>
                  <a:pt x="484" y="342"/>
                </a:lnTo>
                <a:lnTo>
                  <a:pt x="512" y="322"/>
                </a:lnTo>
                <a:lnTo>
                  <a:pt x="542" y="304"/>
                </a:lnTo>
                <a:lnTo>
                  <a:pt x="570" y="286"/>
                </a:lnTo>
                <a:lnTo>
                  <a:pt x="602" y="272"/>
                </a:lnTo>
                <a:lnTo>
                  <a:pt x="632" y="258"/>
                </a:lnTo>
                <a:lnTo>
                  <a:pt x="664" y="244"/>
                </a:lnTo>
                <a:lnTo>
                  <a:pt x="698" y="234"/>
                </a:lnTo>
                <a:lnTo>
                  <a:pt x="730" y="224"/>
                </a:lnTo>
                <a:lnTo>
                  <a:pt x="766" y="216"/>
                </a:lnTo>
                <a:lnTo>
                  <a:pt x="800" y="210"/>
                </a:lnTo>
                <a:lnTo>
                  <a:pt x="836" y="206"/>
                </a:lnTo>
                <a:lnTo>
                  <a:pt x="872" y="202"/>
                </a:lnTo>
                <a:lnTo>
                  <a:pt x="908" y="202"/>
                </a:lnTo>
                <a:lnTo>
                  <a:pt x="944" y="202"/>
                </a:lnTo>
                <a:lnTo>
                  <a:pt x="980" y="206"/>
                </a:lnTo>
                <a:lnTo>
                  <a:pt x="1014" y="210"/>
                </a:lnTo>
                <a:lnTo>
                  <a:pt x="1050" y="216"/>
                </a:lnTo>
                <a:lnTo>
                  <a:pt x="1084" y="224"/>
                </a:lnTo>
                <a:lnTo>
                  <a:pt x="1118" y="234"/>
                </a:lnTo>
                <a:lnTo>
                  <a:pt x="1150" y="244"/>
                </a:lnTo>
                <a:lnTo>
                  <a:pt x="1182" y="258"/>
                </a:lnTo>
                <a:lnTo>
                  <a:pt x="1214" y="272"/>
                </a:lnTo>
                <a:lnTo>
                  <a:pt x="1244" y="286"/>
                </a:lnTo>
                <a:lnTo>
                  <a:pt x="1274" y="304"/>
                </a:lnTo>
                <a:lnTo>
                  <a:pt x="1302" y="322"/>
                </a:lnTo>
                <a:lnTo>
                  <a:pt x="1330" y="342"/>
                </a:lnTo>
                <a:lnTo>
                  <a:pt x="1356" y="362"/>
                </a:lnTo>
                <a:lnTo>
                  <a:pt x="1382" y="386"/>
                </a:lnTo>
                <a:lnTo>
                  <a:pt x="1406" y="408"/>
                </a:lnTo>
                <a:lnTo>
                  <a:pt x="1430" y="432"/>
                </a:lnTo>
                <a:lnTo>
                  <a:pt x="1452" y="458"/>
                </a:lnTo>
                <a:lnTo>
                  <a:pt x="1474" y="486"/>
                </a:lnTo>
                <a:lnTo>
                  <a:pt x="1492" y="512"/>
                </a:lnTo>
                <a:lnTo>
                  <a:pt x="1512" y="542"/>
                </a:lnTo>
                <a:lnTo>
                  <a:pt x="1528" y="572"/>
                </a:lnTo>
                <a:lnTo>
                  <a:pt x="1544" y="602"/>
                </a:lnTo>
                <a:lnTo>
                  <a:pt x="1558" y="632"/>
                </a:lnTo>
                <a:lnTo>
                  <a:pt x="1570" y="664"/>
                </a:lnTo>
                <a:lnTo>
                  <a:pt x="1582" y="698"/>
                </a:lnTo>
                <a:lnTo>
                  <a:pt x="1592" y="732"/>
                </a:lnTo>
                <a:lnTo>
                  <a:pt x="1598" y="766"/>
                </a:lnTo>
                <a:lnTo>
                  <a:pt x="1606" y="800"/>
                </a:lnTo>
                <a:lnTo>
                  <a:pt x="1610" y="836"/>
                </a:lnTo>
                <a:lnTo>
                  <a:pt x="1612" y="872"/>
                </a:lnTo>
                <a:lnTo>
                  <a:pt x="1614" y="908"/>
                </a:lnTo>
                <a:lnTo>
                  <a:pt x="1612" y="944"/>
                </a:lnTo>
                <a:lnTo>
                  <a:pt x="1610" y="980"/>
                </a:lnTo>
                <a:lnTo>
                  <a:pt x="1606" y="1016"/>
                </a:lnTo>
                <a:lnTo>
                  <a:pt x="1598" y="1050"/>
                </a:lnTo>
                <a:lnTo>
                  <a:pt x="1592" y="1084"/>
                </a:lnTo>
                <a:lnTo>
                  <a:pt x="1582" y="1118"/>
                </a:lnTo>
                <a:lnTo>
                  <a:pt x="1570" y="1150"/>
                </a:lnTo>
                <a:lnTo>
                  <a:pt x="1558" y="1182"/>
                </a:lnTo>
                <a:lnTo>
                  <a:pt x="1544" y="1214"/>
                </a:lnTo>
                <a:lnTo>
                  <a:pt x="1528" y="1244"/>
                </a:lnTo>
                <a:lnTo>
                  <a:pt x="1512" y="1274"/>
                </a:lnTo>
                <a:lnTo>
                  <a:pt x="1492" y="1302"/>
                </a:lnTo>
                <a:lnTo>
                  <a:pt x="1474" y="1330"/>
                </a:lnTo>
                <a:lnTo>
                  <a:pt x="1452" y="1356"/>
                </a:lnTo>
                <a:lnTo>
                  <a:pt x="1430" y="1382"/>
                </a:lnTo>
                <a:lnTo>
                  <a:pt x="1406" y="1406"/>
                </a:lnTo>
                <a:lnTo>
                  <a:pt x="1382" y="1430"/>
                </a:lnTo>
                <a:lnTo>
                  <a:pt x="1356" y="1452"/>
                </a:lnTo>
                <a:lnTo>
                  <a:pt x="1330" y="1474"/>
                </a:lnTo>
                <a:lnTo>
                  <a:pt x="1302" y="1492"/>
                </a:lnTo>
                <a:lnTo>
                  <a:pt x="1274" y="1512"/>
                </a:lnTo>
                <a:lnTo>
                  <a:pt x="1244" y="1528"/>
                </a:lnTo>
                <a:lnTo>
                  <a:pt x="1214" y="1544"/>
                </a:lnTo>
                <a:lnTo>
                  <a:pt x="1182" y="1558"/>
                </a:lnTo>
                <a:lnTo>
                  <a:pt x="1150" y="1570"/>
                </a:lnTo>
                <a:lnTo>
                  <a:pt x="1118" y="1582"/>
                </a:lnTo>
                <a:lnTo>
                  <a:pt x="1084" y="1592"/>
                </a:lnTo>
                <a:lnTo>
                  <a:pt x="1050" y="1600"/>
                </a:lnTo>
                <a:lnTo>
                  <a:pt x="1014" y="1606"/>
                </a:lnTo>
                <a:lnTo>
                  <a:pt x="980" y="1610"/>
                </a:lnTo>
                <a:lnTo>
                  <a:pt x="944" y="1612"/>
                </a:lnTo>
                <a:lnTo>
                  <a:pt x="908" y="1614"/>
                </a:lnTo>
                <a:close/>
              </a:path>
            </a:pathLst>
          </a:custGeom>
          <a:solidFill>
            <a:srgbClr val="80808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cap="rnd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5" name="Freeform 675">
            <a:extLst>
              <a:ext uri="{FF2B5EF4-FFF2-40B4-BE49-F238E27FC236}">
                <a16:creationId xmlns:a16="http://schemas.microsoft.com/office/drawing/2014/main" id="{E50D2A32-4D4A-4383-9D05-150C6A6D341F}"/>
              </a:ext>
            </a:extLst>
          </p:cNvPr>
          <p:cNvSpPr>
            <a:spLocks noEditPoints="1"/>
          </p:cNvSpPr>
          <p:nvPr/>
        </p:nvSpPr>
        <p:spPr bwMode="auto">
          <a:xfrm rot="21275257">
            <a:off x="3256632" y="1715294"/>
            <a:ext cx="3429000" cy="3429000"/>
          </a:xfrm>
          <a:custGeom>
            <a:avLst/>
            <a:gdLst>
              <a:gd name="T0" fmla="*/ 3285144 w 2622"/>
              <a:gd name="T1" fmla="*/ 1506563 h 2622"/>
              <a:gd name="T2" fmla="*/ 3217140 w 2622"/>
              <a:gd name="T3" fmla="*/ 1216236 h 2622"/>
              <a:gd name="T4" fmla="*/ 3154366 w 2622"/>
              <a:gd name="T5" fmla="*/ 776822 h 2622"/>
              <a:gd name="T6" fmla="*/ 2898041 w 2622"/>
              <a:gd name="T7" fmla="*/ 664352 h 2622"/>
              <a:gd name="T8" fmla="*/ 2678334 w 2622"/>
              <a:gd name="T9" fmla="*/ 460339 h 2622"/>
              <a:gd name="T10" fmla="*/ 2424625 w 2622"/>
              <a:gd name="T11" fmla="*/ 300789 h 2622"/>
              <a:gd name="T12" fmla="*/ 2068908 w 2622"/>
              <a:gd name="T13" fmla="*/ 34002 h 2622"/>
              <a:gd name="T14" fmla="*/ 1807352 w 2622"/>
              <a:gd name="T15" fmla="*/ 136009 h 2622"/>
              <a:gd name="T16" fmla="*/ 1509178 w 2622"/>
              <a:gd name="T17" fmla="*/ 146471 h 2622"/>
              <a:gd name="T18" fmla="*/ 1216236 w 2622"/>
              <a:gd name="T19" fmla="*/ 211860 h 2622"/>
              <a:gd name="T20" fmla="*/ 776822 w 2622"/>
              <a:gd name="T21" fmla="*/ 277249 h 2622"/>
              <a:gd name="T22" fmla="*/ 664352 w 2622"/>
              <a:gd name="T23" fmla="*/ 530959 h 2622"/>
              <a:gd name="T24" fmla="*/ 460339 w 2622"/>
              <a:gd name="T25" fmla="*/ 750666 h 2622"/>
              <a:gd name="T26" fmla="*/ 300789 w 2622"/>
              <a:gd name="T27" fmla="*/ 1004375 h 2622"/>
              <a:gd name="T28" fmla="*/ 34002 w 2622"/>
              <a:gd name="T29" fmla="*/ 1360092 h 2622"/>
              <a:gd name="T30" fmla="*/ 136009 w 2622"/>
              <a:gd name="T31" fmla="*/ 1621648 h 2622"/>
              <a:gd name="T32" fmla="*/ 146471 w 2622"/>
              <a:gd name="T33" fmla="*/ 1922437 h 2622"/>
              <a:gd name="T34" fmla="*/ 214476 w 2622"/>
              <a:gd name="T35" fmla="*/ 2212764 h 2622"/>
              <a:gd name="T36" fmla="*/ 277249 w 2622"/>
              <a:gd name="T37" fmla="*/ 2652178 h 2622"/>
              <a:gd name="T38" fmla="*/ 533574 w 2622"/>
              <a:gd name="T39" fmla="*/ 2767263 h 2622"/>
              <a:gd name="T40" fmla="*/ 753281 w 2622"/>
              <a:gd name="T41" fmla="*/ 2971277 h 2622"/>
              <a:gd name="T42" fmla="*/ 1006991 w 2622"/>
              <a:gd name="T43" fmla="*/ 3130826 h 2622"/>
              <a:gd name="T44" fmla="*/ 1362707 w 2622"/>
              <a:gd name="T45" fmla="*/ 3394998 h 2622"/>
              <a:gd name="T46" fmla="*/ 1621648 w 2622"/>
              <a:gd name="T47" fmla="*/ 3295606 h 2622"/>
              <a:gd name="T48" fmla="*/ 1922437 w 2622"/>
              <a:gd name="T49" fmla="*/ 3285144 h 2622"/>
              <a:gd name="T50" fmla="*/ 2215380 w 2622"/>
              <a:gd name="T51" fmla="*/ 3217140 h 2622"/>
              <a:gd name="T52" fmla="*/ 2652178 w 2622"/>
              <a:gd name="T53" fmla="*/ 3154366 h 2622"/>
              <a:gd name="T54" fmla="*/ 2767263 w 2622"/>
              <a:gd name="T55" fmla="*/ 2898041 h 2622"/>
              <a:gd name="T56" fmla="*/ 2971277 w 2622"/>
              <a:gd name="T57" fmla="*/ 2678334 h 2622"/>
              <a:gd name="T58" fmla="*/ 3130826 w 2622"/>
              <a:gd name="T59" fmla="*/ 2424625 h 2622"/>
              <a:gd name="T60" fmla="*/ 3394998 w 2622"/>
              <a:gd name="T61" fmla="*/ 2068908 h 2622"/>
              <a:gd name="T62" fmla="*/ 3295606 w 2622"/>
              <a:gd name="T63" fmla="*/ 1807352 h 2622"/>
              <a:gd name="T64" fmla="*/ 1493485 w 2622"/>
              <a:gd name="T65" fmla="*/ 3149135 h 2622"/>
              <a:gd name="T66" fmla="*/ 1085458 w 2622"/>
              <a:gd name="T67" fmla="*/ 3023588 h 2622"/>
              <a:gd name="T68" fmla="*/ 740204 w 2622"/>
              <a:gd name="T69" fmla="*/ 2788188 h 2622"/>
              <a:gd name="T70" fmla="*/ 473416 w 2622"/>
              <a:gd name="T71" fmla="*/ 2466474 h 2622"/>
              <a:gd name="T72" fmla="*/ 311252 w 2622"/>
              <a:gd name="T73" fmla="*/ 2076755 h 2622"/>
              <a:gd name="T74" fmla="*/ 264172 w 2622"/>
              <a:gd name="T75" fmla="*/ 1715808 h 2622"/>
              <a:gd name="T76" fmla="*/ 329561 w 2622"/>
              <a:gd name="T77" fmla="*/ 1284240 h 2622"/>
              <a:gd name="T78" fmla="*/ 512650 w 2622"/>
              <a:gd name="T79" fmla="*/ 904984 h 2622"/>
              <a:gd name="T80" fmla="*/ 792515 w 2622"/>
              <a:gd name="T81" fmla="*/ 596348 h 2622"/>
              <a:gd name="T82" fmla="*/ 1150847 w 2622"/>
              <a:gd name="T83" fmla="*/ 379256 h 2622"/>
              <a:gd name="T84" fmla="*/ 1566721 w 2622"/>
              <a:gd name="T85" fmla="*/ 272018 h 2622"/>
              <a:gd name="T86" fmla="*/ 1935515 w 2622"/>
              <a:gd name="T87" fmla="*/ 279865 h 2622"/>
              <a:gd name="T88" fmla="*/ 2343542 w 2622"/>
              <a:gd name="T89" fmla="*/ 408027 h 2622"/>
              <a:gd name="T90" fmla="*/ 2691412 w 2622"/>
              <a:gd name="T91" fmla="*/ 640812 h 2622"/>
              <a:gd name="T92" fmla="*/ 2955584 w 2622"/>
              <a:gd name="T93" fmla="*/ 962526 h 2622"/>
              <a:gd name="T94" fmla="*/ 3120364 w 2622"/>
              <a:gd name="T95" fmla="*/ 1352245 h 2622"/>
              <a:gd name="T96" fmla="*/ 3167444 w 2622"/>
              <a:gd name="T97" fmla="*/ 1715808 h 2622"/>
              <a:gd name="T98" fmla="*/ 3102055 w 2622"/>
              <a:gd name="T99" fmla="*/ 2147375 h 2622"/>
              <a:gd name="T100" fmla="*/ 2918966 w 2622"/>
              <a:gd name="T101" fmla="*/ 2526632 h 2622"/>
              <a:gd name="T102" fmla="*/ 2639101 w 2622"/>
              <a:gd name="T103" fmla="*/ 2835268 h 2622"/>
              <a:gd name="T104" fmla="*/ 2280769 w 2622"/>
              <a:gd name="T105" fmla="*/ 3052359 h 2622"/>
              <a:gd name="T106" fmla="*/ 1864895 w 2622"/>
              <a:gd name="T107" fmla="*/ 3159597 h 262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622"/>
              <a:gd name="T163" fmla="*/ 0 h 2622"/>
              <a:gd name="T164" fmla="*/ 2622 w 2622"/>
              <a:gd name="T165" fmla="*/ 2622 h 262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622" h="2622">
                <a:moveTo>
                  <a:pt x="2622" y="1382"/>
                </a:moveTo>
                <a:lnTo>
                  <a:pt x="2622" y="1240"/>
                </a:lnTo>
                <a:lnTo>
                  <a:pt x="2520" y="1240"/>
                </a:lnTo>
                <a:lnTo>
                  <a:pt x="2516" y="1196"/>
                </a:lnTo>
                <a:lnTo>
                  <a:pt x="2512" y="1152"/>
                </a:lnTo>
                <a:lnTo>
                  <a:pt x="2506" y="1110"/>
                </a:lnTo>
                <a:lnTo>
                  <a:pt x="2498" y="1068"/>
                </a:lnTo>
                <a:lnTo>
                  <a:pt x="2596" y="1040"/>
                </a:lnTo>
                <a:lnTo>
                  <a:pt x="2560" y="904"/>
                </a:lnTo>
                <a:lnTo>
                  <a:pt x="2460" y="930"/>
                </a:lnTo>
                <a:lnTo>
                  <a:pt x="2446" y="888"/>
                </a:lnTo>
                <a:lnTo>
                  <a:pt x="2430" y="848"/>
                </a:lnTo>
                <a:lnTo>
                  <a:pt x="2412" y="808"/>
                </a:lnTo>
                <a:lnTo>
                  <a:pt x="2394" y="768"/>
                </a:lnTo>
                <a:lnTo>
                  <a:pt x="2482" y="718"/>
                </a:lnTo>
                <a:lnTo>
                  <a:pt x="2412" y="594"/>
                </a:lnTo>
                <a:lnTo>
                  <a:pt x="2322" y="646"/>
                </a:lnTo>
                <a:lnTo>
                  <a:pt x="2298" y="610"/>
                </a:lnTo>
                <a:lnTo>
                  <a:pt x="2272" y="574"/>
                </a:lnTo>
                <a:lnTo>
                  <a:pt x="2244" y="540"/>
                </a:lnTo>
                <a:lnTo>
                  <a:pt x="2216" y="508"/>
                </a:lnTo>
                <a:lnTo>
                  <a:pt x="2290" y="434"/>
                </a:lnTo>
                <a:lnTo>
                  <a:pt x="2188" y="334"/>
                </a:lnTo>
                <a:lnTo>
                  <a:pt x="2116" y="406"/>
                </a:lnTo>
                <a:lnTo>
                  <a:pt x="2082" y="378"/>
                </a:lnTo>
                <a:lnTo>
                  <a:pt x="2048" y="352"/>
                </a:lnTo>
                <a:lnTo>
                  <a:pt x="2014" y="326"/>
                </a:lnTo>
                <a:lnTo>
                  <a:pt x="1978" y="300"/>
                </a:lnTo>
                <a:lnTo>
                  <a:pt x="2028" y="212"/>
                </a:lnTo>
                <a:lnTo>
                  <a:pt x="1906" y="140"/>
                </a:lnTo>
                <a:lnTo>
                  <a:pt x="1854" y="230"/>
                </a:lnTo>
                <a:lnTo>
                  <a:pt x="1816" y="210"/>
                </a:lnTo>
                <a:lnTo>
                  <a:pt x="1776" y="194"/>
                </a:lnTo>
                <a:lnTo>
                  <a:pt x="1734" y="178"/>
                </a:lnTo>
                <a:lnTo>
                  <a:pt x="1694" y="162"/>
                </a:lnTo>
                <a:lnTo>
                  <a:pt x="1720" y="64"/>
                </a:lnTo>
                <a:lnTo>
                  <a:pt x="1582" y="26"/>
                </a:lnTo>
                <a:lnTo>
                  <a:pt x="1556" y="126"/>
                </a:lnTo>
                <a:lnTo>
                  <a:pt x="1514" y="118"/>
                </a:lnTo>
                <a:lnTo>
                  <a:pt x="1470" y="112"/>
                </a:lnTo>
                <a:lnTo>
                  <a:pt x="1426" y="106"/>
                </a:lnTo>
                <a:lnTo>
                  <a:pt x="1382" y="104"/>
                </a:lnTo>
                <a:lnTo>
                  <a:pt x="1382" y="0"/>
                </a:lnTo>
                <a:lnTo>
                  <a:pt x="1240" y="0"/>
                </a:lnTo>
                <a:lnTo>
                  <a:pt x="1240" y="104"/>
                </a:lnTo>
                <a:lnTo>
                  <a:pt x="1196" y="106"/>
                </a:lnTo>
                <a:lnTo>
                  <a:pt x="1154" y="112"/>
                </a:lnTo>
                <a:lnTo>
                  <a:pt x="1110" y="118"/>
                </a:lnTo>
                <a:lnTo>
                  <a:pt x="1068" y="126"/>
                </a:lnTo>
                <a:lnTo>
                  <a:pt x="1042" y="26"/>
                </a:lnTo>
                <a:lnTo>
                  <a:pt x="904" y="64"/>
                </a:lnTo>
                <a:lnTo>
                  <a:pt x="930" y="162"/>
                </a:lnTo>
                <a:lnTo>
                  <a:pt x="890" y="178"/>
                </a:lnTo>
                <a:lnTo>
                  <a:pt x="848" y="194"/>
                </a:lnTo>
                <a:lnTo>
                  <a:pt x="808" y="210"/>
                </a:lnTo>
                <a:lnTo>
                  <a:pt x="770" y="230"/>
                </a:lnTo>
                <a:lnTo>
                  <a:pt x="718" y="140"/>
                </a:lnTo>
                <a:lnTo>
                  <a:pt x="594" y="212"/>
                </a:lnTo>
                <a:lnTo>
                  <a:pt x="646" y="300"/>
                </a:lnTo>
                <a:lnTo>
                  <a:pt x="610" y="326"/>
                </a:lnTo>
                <a:lnTo>
                  <a:pt x="576" y="352"/>
                </a:lnTo>
                <a:lnTo>
                  <a:pt x="542" y="378"/>
                </a:lnTo>
                <a:lnTo>
                  <a:pt x="508" y="406"/>
                </a:lnTo>
                <a:lnTo>
                  <a:pt x="436" y="334"/>
                </a:lnTo>
                <a:lnTo>
                  <a:pt x="334" y="434"/>
                </a:lnTo>
                <a:lnTo>
                  <a:pt x="408" y="508"/>
                </a:lnTo>
                <a:lnTo>
                  <a:pt x="378" y="540"/>
                </a:lnTo>
                <a:lnTo>
                  <a:pt x="352" y="574"/>
                </a:lnTo>
                <a:lnTo>
                  <a:pt x="326" y="610"/>
                </a:lnTo>
                <a:lnTo>
                  <a:pt x="302" y="646"/>
                </a:lnTo>
                <a:lnTo>
                  <a:pt x="212" y="594"/>
                </a:lnTo>
                <a:lnTo>
                  <a:pt x="140" y="718"/>
                </a:lnTo>
                <a:lnTo>
                  <a:pt x="230" y="768"/>
                </a:lnTo>
                <a:lnTo>
                  <a:pt x="212" y="808"/>
                </a:lnTo>
                <a:lnTo>
                  <a:pt x="194" y="848"/>
                </a:lnTo>
                <a:lnTo>
                  <a:pt x="178" y="888"/>
                </a:lnTo>
                <a:lnTo>
                  <a:pt x="164" y="930"/>
                </a:lnTo>
                <a:lnTo>
                  <a:pt x="64" y="904"/>
                </a:lnTo>
                <a:lnTo>
                  <a:pt x="26" y="1040"/>
                </a:lnTo>
                <a:lnTo>
                  <a:pt x="126" y="1068"/>
                </a:lnTo>
                <a:lnTo>
                  <a:pt x="118" y="1110"/>
                </a:lnTo>
                <a:lnTo>
                  <a:pt x="112" y="1152"/>
                </a:lnTo>
                <a:lnTo>
                  <a:pt x="108" y="1196"/>
                </a:lnTo>
                <a:lnTo>
                  <a:pt x="104" y="1240"/>
                </a:lnTo>
                <a:lnTo>
                  <a:pt x="0" y="1240"/>
                </a:lnTo>
                <a:lnTo>
                  <a:pt x="0" y="1382"/>
                </a:lnTo>
                <a:lnTo>
                  <a:pt x="104" y="1382"/>
                </a:lnTo>
                <a:lnTo>
                  <a:pt x="108" y="1426"/>
                </a:lnTo>
                <a:lnTo>
                  <a:pt x="112" y="1470"/>
                </a:lnTo>
                <a:lnTo>
                  <a:pt x="118" y="1512"/>
                </a:lnTo>
                <a:lnTo>
                  <a:pt x="126" y="1556"/>
                </a:lnTo>
                <a:lnTo>
                  <a:pt x="26" y="1582"/>
                </a:lnTo>
                <a:lnTo>
                  <a:pt x="64" y="1720"/>
                </a:lnTo>
                <a:lnTo>
                  <a:pt x="164" y="1692"/>
                </a:lnTo>
                <a:lnTo>
                  <a:pt x="178" y="1734"/>
                </a:lnTo>
                <a:lnTo>
                  <a:pt x="194" y="1774"/>
                </a:lnTo>
                <a:lnTo>
                  <a:pt x="212" y="1814"/>
                </a:lnTo>
                <a:lnTo>
                  <a:pt x="230" y="1854"/>
                </a:lnTo>
                <a:lnTo>
                  <a:pt x="140" y="1906"/>
                </a:lnTo>
                <a:lnTo>
                  <a:pt x="212" y="2028"/>
                </a:lnTo>
                <a:lnTo>
                  <a:pt x="302" y="1978"/>
                </a:lnTo>
                <a:lnTo>
                  <a:pt x="326" y="2014"/>
                </a:lnTo>
                <a:lnTo>
                  <a:pt x="352" y="2048"/>
                </a:lnTo>
                <a:lnTo>
                  <a:pt x="378" y="2082"/>
                </a:lnTo>
                <a:lnTo>
                  <a:pt x="408" y="2116"/>
                </a:lnTo>
                <a:lnTo>
                  <a:pt x="334" y="2188"/>
                </a:lnTo>
                <a:lnTo>
                  <a:pt x="436" y="2288"/>
                </a:lnTo>
                <a:lnTo>
                  <a:pt x="508" y="2216"/>
                </a:lnTo>
                <a:lnTo>
                  <a:pt x="542" y="2244"/>
                </a:lnTo>
                <a:lnTo>
                  <a:pt x="576" y="2272"/>
                </a:lnTo>
                <a:lnTo>
                  <a:pt x="610" y="2298"/>
                </a:lnTo>
                <a:lnTo>
                  <a:pt x="646" y="2322"/>
                </a:lnTo>
                <a:lnTo>
                  <a:pt x="594" y="2412"/>
                </a:lnTo>
                <a:lnTo>
                  <a:pt x="718" y="2482"/>
                </a:lnTo>
                <a:lnTo>
                  <a:pt x="770" y="2394"/>
                </a:lnTo>
                <a:lnTo>
                  <a:pt x="808" y="2412"/>
                </a:lnTo>
                <a:lnTo>
                  <a:pt x="848" y="2430"/>
                </a:lnTo>
                <a:lnTo>
                  <a:pt x="890" y="2446"/>
                </a:lnTo>
                <a:lnTo>
                  <a:pt x="930" y="2460"/>
                </a:lnTo>
                <a:lnTo>
                  <a:pt x="904" y="2560"/>
                </a:lnTo>
                <a:lnTo>
                  <a:pt x="1042" y="2596"/>
                </a:lnTo>
                <a:lnTo>
                  <a:pt x="1068" y="2498"/>
                </a:lnTo>
                <a:lnTo>
                  <a:pt x="1110" y="2504"/>
                </a:lnTo>
                <a:lnTo>
                  <a:pt x="1154" y="2512"/>
                </a:lnTo>
                <a:lnTo>
                  <a:pt x="1196" y="2516"/>
                </a:lnTo>
                <a:lnTo>
                  <a:pt x="1240" y="2520"/>
                </a:lnTo>
                <a:lnTo>
                  <a:pt x="1240" y="2622"/>
                </a:lnTo>
                <a:lnTo>
                  <a:pt x="1382" y="2622"/>
                </a:lnTo>
                <a:lnTo>
                  <a:pt x="1382" y="2520"/>
                </a:lnTo>
                <a:lnTo>
                  <a:pt x="1426" y="2516"/>
                </a:lnTo>
                <a:lnTo>
                  <a:pt x="1470" y="2512"/>
                </a:lnTo>
                <a:lnTo>
                  <a:pt x="1514" y="2504"/>
                </a:lnTo>
                <a:lnTo>
                  <a:pt x="1556" y="2498"/>
                </a:lnTo>
                <a:lnTo>
                  <a:pt x="1582" y="2596"/>
                </a:lnTo>
                <a:lnTo>
                  <a:pt x="1720" y="2560"/>
                </a:lnTo>
                <a:lnTo>
                  <a:pt x="1694" y="2460"/>
                </a:lnTo>
                <a:lnTo>
                  <a:pt x="1734" y="2446"/>
                </a:lnTo>
                <a:lnTo>
                  <a:pt x="1776" y="2430"/>
                </a:lnTo>
                <a:lnTo>
                  <a:pt x="1816" y="2412"/>
                </a:lnTo>
                <a:lnTo>
                  <a:pt x="1854" y="2394"/>
                </a:lnTo>
                <a:lnTo>
                  <a:pt x="1906" y="2482"/>
                </a:lnTo>
                <a:lnTo>
                  <a:pt x="2028" y="2412"/>
                </a:lnTo>
                <a:lnTo>
                  <a:pt x="1978" y="2322"/>
                </a:lnTo>
                <a:lnTo>
                  <a:pt x="2014" y="2298"/>
                </a:lnTo>
                <a:lnTo>
                  <a:pt x="2048" y="2272"/>
                </a:lnTo>
                <a:lnTo>
                  <a:pt x="2082" y="2244"/>
                </a:lnTo>
                <a:lnTo>
                  <a:pt x="2116" y="2216"/>
                </a:lnTo>
                <a:lnTo>
                  <a:pt x="2188" y="2288"/>
                </a:lnTo>
                <a:lnTo>
                  <a:pt x="2290" y="2188"/>
                </a:lnTo>
                <a:lnTo>
                  <a:pt x="2216" y="2116"/>
                </a:lnTo>
                <a:lnTo>
                  <a:pt x="2244" y="2082"/>
                </a:lnTo>
                <a:lnTo>
                  <a:pt x="2272" y="2048"/>
                </a:lnTo>
                <a:lnTo>
                  <a:pt x="2298" y="2014"/>
                </a:lnTo>
                <a:lnTo>
                  <a:pt x="2322" y="1978"/>
                </a:lnTo>
                <a:lnTo>
                  <a:pt x="2412" y="2028"/>
                </a:lnTo>
                <a:lnTo>
                  <a:pt x="2482" y="1906"/>
                </a:lnTo>
                <a:lnTo>
                  <a:pt x="2394" y="1854"/>
                </a:lnTo>
                <a:lnTo>
                  <a:pt x="2412" y="1814"/>
                </a:lnTo>
                <a:lnTo>
                  <a:pt x="2430" y="1774"/>
                </a:lnTo>
                <a:lnTo>
                  <a:pt x="2446" y="1734"/>
                </a:lnTo>
                <a:lnTo>
                  <a:pt x="2460" y="1692"/>
                </a:lnTo>
                <a:lnTo>
                  <a:pt x="2560" y="1720"/>
                </a:lnTo>
                <a:lnTo>
                  <a:pt x="2596" y="1582"/>
                </a:lnTo>
                <a:lnTo>
                  <a:pt x="2498" y="1556"/>
                </a:lnTo>
                <a:lnTo>
                  <a:pt x="2506" y="1512"/>
                </a:lnTo>
                <a:lnTo>
                  <a:pt x="2512" y="1470"/>
                </a:lnTo>
                <a:lnTo>
                  <a:pt x="2516" y="1426"/>
                </a:lnTo>
                <a:lnTo>
                  <a:pt x="2520" y="1382"/>
                </a:lnTo>
                <a:lnTo>
                  <a:pt x="2622" y="1382"/>
                </a:lnTo>
                <a:close/>
                <a:moveTo>
                  <a:pt x="1312" y="2420"/>
                </a:moveTo>
                <a:lnTo>
                  <a:pt x="1312" y="2420"/>
                </a:lnTo>
                <a:lnTo>
                  <a:pt x="1254" y="2420"/>
                </a:lnTo>
                <a:lnTo>
                  <a:pt x="1198" y="2416"/>
                </a:lnTo>
                <a:lnTo>
                  <a:pt x="1142" y="2408"/>
                </a:lnTo>
                <a:lnTo>
                  <a:pt x="1088" y="2398"/>
                </a:lnTo>
                <a:lnTo>
                  <a:pt x="1034" y="2386"/>
                </a:lnTo>
                <a:lnTo>
                  <a:pt x="982" y="2370"/>
                </a:lnTo>
                <a:lnTo>
                  <a:pt x="930" y="2354"/>
                </a:lnTo>
                <a:lnTo>
                  <a:pt x="880" y="2334"/>
                </a:lnTo>
                <a:lnTo>
                  <a:pt x="830" y="2312"/>
                </a:lnTo>
                <a:lnTo>
                  <a:pt x="782" y="2286"/>
                </a:lnTo>
                <a:lnTo>
                  <a:pt x="736" y="2260"/>
                </a:lnTo>
                <a:lnTo>
                  <a:pt x="692" y="2232"/>
                </a:lnTo>
                <a:lnTo>
                  <a:pt x="648" y="2200"/>
                </a:lnTo>
                <a:lnTo>
                  <a:pt x="606" y="2168"/>
                </a:lnTo>
                <a:lnTo>
                  <a:pt x="566" y="2132"/>
                </a:lnTo>
                <a:lnTo>
                  <a:pt x="528" y="2096"/>
                </a:lnTo>
                <a:lnTo>
                  <a:pt x="490" y="2058"/>
                </a:lnTo>
                <a:lnTo>
                  <a:pt x="456" y="2018"/>
                </a:lnTo>
                <a:lnTo>
                  <a:pt x="422" y="1976"/>
                </a:lnTo>
                <a:lnTo>
                  <a:pt x="392" y="1932"/>
                </a:lnTo>
                <a:lnTo>
                  <a:pt x="362" y="1886"/>
                </a:lnTo>
                <a:lnTo>
                  <a:pt x="336" y="1840"/>
                </a:lnTo>
                <a:lnTo>
                  <a:pt x="312" y="1792"/>
                </a:lnTo>
                <a:lnTo>
                  <a:pt x="290" y="1744"/>
                </a:lnTo>
                <a:lnTo>
                  <a:pt x="270" y="1692"/>
                </a:lnTo>
                <a:lnTo>
                  <a:pt x="252" y="1642"/>
                </a:lnTo>
                <a:lnTo>
                  <a:pt x="238" y="1588"/>
                </a:lnTo>
                <a:lnTo>
                  <a:pt x="224" y="1534"/>
                </a:lnTo>
                <a:lnTo>
                  <a:pt x="216" y="1480"/>
                </a:lnTo>
                <a:lnTo>
                  <a:pt x="208" y="1424"/>
                </a:lnTo>
                <a:lnTo>
                  <a:pt x="204" y="1368"/>
                </a:lnTo>
                <a:lnTo>
                  <a:pt x="202" y="1312"/>
                </a:lnTo>
                <a:lnTo>
                  <a:pt x="204" y="1254"/>
                </a:lnTo>
                <a:lnTo>
                  <a:pt x="208" y="1198"/>
                </a:lnTo>
                <a:lnTo>
                  <a:pt x="216" y="1142"/>
                </a:lnTo>
                <a:lnTo>
                  <a:pt x="224" y="1088"/>
                </a:lnTo>
                <a:lnTo>
                  <a:pt x="238" y="1034"/>
                </a:lnTo>
                <a:lnTo>
                  <a:pt x="252" y="982"/>
                </a:lnTo>
                <a:lnTo>
                  <a:pt x="270" y="930"/>
                </a:lnTo>
                <a:lnTo>
                  <a:pt x="290" y="880"/>
                </a:lnTo>
                <a:lnTo>
                  <a:pt x="312" y="830"/>
                </a:lnTo>
                <a:lnTo>
                  <a:pt x="336" y="782"/>
                </a:lnTo>
                <a:lnTo>
                  <a:pt x="362" y="736"/>
                </a:lnTo>
                <a:lnTo>
                  <a:pt x="392" y="692"/>
                </a:lnTo>
                <a:lnTo>
                  <a:pt x="422" y="648"/>
                </a:lnTo>
                <a:lnTo>
                  <a:pt x="456" y="606"/>
                </a:lnTo>
                <a:lnTo>
                  <a:pt x="490" y="566"/>
                </a:lnTo>
                <a:lnTo>
                  <a:pt x="528" y="526"/>
                </a:lnTo>
                <a:lnTo>
                  <a:pt x="566" y="490"/>
                </a:lnTo>
                <a:lnTo>
                  <a:pt x="606" y="456"/>
                </a:lnTo>
                <a:lnTo>
                  <a:pt x="648" y="422"/>
                </a:lnTo>
                <a:lnTo>
                  <a:pt x="692" y="392"/>
                </a:lnTo>
                <a:lnTo>
                  <a:pt x="736" y="362"/>
                </a:lnTo>
                <a:lnTo>
                  <a:pt x="782" y="336"/>
                </a:lnTo>
                <a:lnTo>
                  <a:pt x="830" y="312"/>
                </a:lnTo>
                <a:lnTo>
                  <a:pt x="880" y="290"/>
                </a:lnTo>
                <a:lnTo>
                  <a:pt x="930" y="270"/>
                </a:lnTo>
                <a:lnTo>
                  <a:pt x="982" y="252"/>
                </a:lnTo>
                <a:lnTo>
                  <a:pt x="1034" y="236"/>
                </a:lnTo>
                <a:lnTo>
                  <a:pt x="1088" y="224"/>
                </a:lnTo>
                <a:lnTo>
                  <a:pt x="1142" y="214"/>
                </a:lnTo>
                <a:lnTo>
                  <a:pt x="1198" y="208"/>
                </a:lnTo>
                <a:lnTo>
                  <a:pt x="1254" y="204"/>
                </a:lnTo>
                <a:lnTo>
                  <a:pt x="1312" y="202"/>
                </a:lnTo>
                <a:lnTo>
                  <a:pt x="1368" y="204"/>
                </a:lnTo>
                <a:lnTo>
                  <a:pt x="1426" y="208"/>
                </a:lnTo>
                <a:lnTo>
                  <a:pt x="1480" y="214"/>
                </a:lnTo>
                <a:lnTo>
                  <a:pt x="1536" y="224"/>
                </a:lnTo>
                <a:lnTo>
                  <a:pt x="1588" y="236"/>
                </a:lnTo>
                <a:lnTo>
                  <a:pt x="1642" y="252"/>
                </a:lnTo>
                <a:lnTo>
                  <a:pt x="1694" y="270"/>
                </a:lnTo>
                <a:lnTo>
                  <a:pt x="1744" y="290"/>
                </a:lnTo>
                <a:lnTo>
                  <a:pt x="1792" y="312"/>
                </a:lnTo>
                <a:lnTo>
                  <a:pt x="1840" y="336"/>
                </a:lnTo>
                <a:lnTo>
                  <a:pt x="1886" y="362"/>
                </a:lnTo>
                <a:lnTo>
                  <a:pt x="1932" y="392"/>
                </a:lnTo>
                <a:lnTo>
                  <a:pt x="1976" y="422"/>
                </a:lnTo>
                <a:lnTo>
                  <a:pt x="2018" y="456"/>
                </a:lnTo>
                <a:lnTo>
                  <a:pt x="2058" y="490"/>
                </a:lnTo>
                <a:lnTo>
                  <a:pt x="2096" y="526"/>
                </a:lnTo>
                <a:lnTo>
                  <a:pt x="2132" y="566"/>
                </a:lnTo>
                <a:lnTo>
                  <a:pt x="2168" y="606"/>
                </a:lnTo>
                <a:lnTo>
                  <a:pt x="2200" y="648"/>
                </a:lnTo>
                <a:lnTo>
                  <a:pt x="2232" y="692"/>
                </a:lnTo>
                <a:lnTo>
                  <a:pt x="2260" y="736"/>
                </a:lnTo>
                <a:lnTo>
                  <a:pt x="2288" y="782"/>
                </a:lnTo>
                <a:lnTo>
                  <a:pt x="2312" y="830"/>
                </a:lnTo>
                <a:lnTo>
                  <a:pt x="2334" y="880"/>
                </a:lnTo>
                <a:lnTo>
                  <a:pt x="2354" y="930"/>
                </a:lnTo>
                <a:lnTo>
                  <a:pt x="2372" y="982"/>
                </a:lnTo>
                <a:lnTo>
                  <a:pt x="2386" y="1034"/>
                </a:lnTo>
                <a:lnTo>
                  <a:pt x="2398" y="1088"/>
                </a:lnTo>
                <a:lnTo>
                  <a:pt x="2408" y="1142"/>
                </a:lnTo>
                <a:lnTo>
                  <a:pt x="2416" y="1198"/>
                </a:lnTo>
                <a:lnTo>
                  <a:pt x="2420" y="1254"/>
                </a:lnTo>
                <a:lnTo>
                  <a:pt x="2422" y="1312"/>
                </a:lnTo>
                <a:lnTo>
                  <a:pt x="2420" y="1368"/>
                </a:lnTo>
                <a:lnTo>
                  <a:pt x="2416" y="1424"/>
                </a:lnTo>
                <a:lnTo>
                  <a:pt x="2408" y="1480"/>
                </a:lnTo>
                <a:lnTo>
                  <a:pt x="2398" y="1534"/>
                </a:lnTo>
                <a:lnTo>
                  <a:pt x="2386" y="1588"/>
                </a:lnTo>
                <a:lnTo>
                  <a:pt x="2372" y="1642"/>
                </a:lnTo>
                <a:lnTo>
                  <a:pt x="2354" y="1692"/>
                </a:lnTo>
                <a:lnTo>
                  <a:pt x="2334" y="1744"/>
                </a:lnTo>
                <a:lnTo>
                  <a:pt x="2312" y="1792"/>
                </a:lnTo>
                <a:lnTo>
                  <a:pt x="2288" y="1840"/>
                </a:lnTo>
                <a:lnTo>
                  <a:pt x="2260" y="1886"/>
                </a:lnTo>
                <a:lnTo>
                  <a:pt x="2232" y="1932"/>
                </a:lnTo>
                <a:lnTo>
                  <a:pt x="2200" y="1976"/>
                </a:lnTo>
                <a:lnTo>
                  <a:pt x="2168" y="2018"/>
                </a:lnTo>
                <a:lnTo>
                  <a:pt x="2132" y="2058"/>
                </a:lnTo>
                <a:lnTo>
                  <a:pt x="2096" y="2096"/>
                </a:lnTo>
                <a:lnTo>
                  <a:pt x="2058" y="2132"/>
                </a:lnTo>
                <a:lnTo>
                  <a:pt x="2018" y="2168"/>
                </a:lnTo>
                <a:lnTo>
                  <a:pt x="1976" y="2200"/>
                </a:lnTo>
                <a:lnTo>
                  <a:pt x="1932" y="2232"/>
                </a:lnTo>
                <a:lnTo>
                  <a:pt x="1886" y="2260"/>
                </a:lnTo>
                <a:lnTo>
                  <a:pt x="1840" y="2286"/>
                </a:lnTo>
                <a:lnTo>
                  <a:pt x="1792" y="2312"/>
                </a:lnTo>
                <a:lnTo>
                  <a:pt x="1744" y="2334"/>
                </a:lnTo>
                <a:lnTo>
                  <a:pt x="1694" y="2354"/>
                </a:lnTo>
                <a:lnTo>
                  <a:pt x="1642" y="2370"/>
                </a:lnTo>
                <a:lnTo>
                  <a:pt x="1588" y="2386"/>
                </a:lnTo>
                <a:lnTo>
                  <a:pt x="1536" y="2398"/>
                </a:lnTo>
                <a:lnTo>
                  <a:pt x="1480" y="2408"/>
                </a:lnTo>
                <a:lnTo>
                  <a:pt x="1426" y="2416"/>
                </a:lnTo>
                <a:lnTo>
                  <a:pt x="1368" y="2420"/>
                </a:lnTo>
                <a:lnTo>
                  <a:pt x="1312" y="2420"/>
                </a:lnTo>
                <a:close/>
              </a:path>
            </a:pathLst>
          </a:custGeom>
          <a:solidFill>
            <a:srgbClr val="80808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cap="rnd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" name="Oval 676">
            <a:extLst>
              <a:ext uri="{FF2B5EF4-FFF2-40B4-BE49-F238E27FC236}">
                <a16:creationId xmlns:a16="http://schemas.microsoft.com/office/drawing/2014/main" id="{C16AC1BB-B43A-49EC-A506-8246B9D8B775}"/>
              </a:ext>
            </a:extLst>
          </p:cNvPr>
          <p:cNvSpPr>
            <a:spLocks noChangeArrowheads="1"/>
          </p:cNvSpPr>
          <p:nvPr/>
        </p:nvSpPr>
        <p:spPr bwMode="auto">
          <a:xfrm rot="21275257">
            <a:off x="3623345" y="2082006"/>
            <a:ext cx="2695575" cy="2693988"/>
          </a:xfrm>
          <a:prstGeom prst="ellipse">
            <a:avLst/>
          </a:prstGeom>
          <a:gradFill rotWithShape="1">
            <a:gsLst>
              <a:gs pos="0">
                <a:srgbClr val="F69D26"/>
              </a:gs>
              <a:gs pos="100000">
                <a:srgbClr val="CA811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7" name="Oval 677">
            <a:extLst>
              <a:ext uri="{FF2B5EF4-FFF2-40B4-BE49-F238E27FC236}">
                <a16:creationId xmlns:a16="http://schemas.microsoft.com/office/drawing/2014/main" id="{84A68F0C-F6F2-4428-8ABE-A8940FCDE69E}"/>
              </a:ext>
            </a:extLst>
          </p:cNvPr>
          <p:cNvSpPr>
            <a:spLocks noChangeArrowheads="1"/>
          </p:cNvSpPr>
          <p:nvPr/>
        </p:nvSpPr>
        <p:spPr bwMode="auto">
          <a:xfrm rot="21275257">
            <a:off x="6933282" y="2059781"/>
            <a:ext cx="1801813" cy="1801813"/>
          </a:xfrm>
          <a:prstGeom prst="ellipse">
            <a:avLst/>
          </a:prstGeom>
          <a:gradFill rotWithShape="1">
            <a:gsLst>
              <a:gs pos="0">
                <a:srgbClr val="945803"/>
              </a:gs>
              <a:gs pos="100000">
                <a:srgbClr val="794802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8" name="Freeform 679">
            <a:extLst>
              <a:ext uri="{FF2B5EF4-FFF2-40B4-BE49-F238E27FC236}">
                <a16:creationId xmlns:a16="http://schemas.microsoft.com/office/drawing/2014/main" id="{5045D776-0441-4BB2-BD44-CFF5E3C25700}"/>
              </a:ext>
            </a:extLst>
          </p:cNvPr>
          <p:cNvSpPr>
            <a:spLocks noEditPoints="1"/>
          </p:cNvSpPr>
          <p:nvPr/>
        </p:nvSpPr>
        <p:spPr bwMode="auto">
          <a:xfrm rot="21275257">
            <a:off x="8009607" y="3742531"/>
            <a:ext cx="2303463" cy="2305050"/>
          </a:xfrm>
          <a:custGeom>
            <a:avLst/>
            <a:gdLst>
              <a:gd name="T0" fmla="*/ 2163936 w 1816"/>
              <a:gd name="T1" fmla="*/ 1005286 h 1816"/>
              <a:gd name="T2" fmla="*/ 2179157 w 1816"/>
              <a:gd name="T3" fmla="*/ 627035 h 1816"/>
              <a:gd name="T4" fmla="*/ 1968598 w 1816"/>
              <a:gd name="T5" fmla="*/ 538183 h 1816"/>
              <a:gd name="T6" fmla="*/ 1808777 w 1816"/>
              <a:gd name="T7" fmla="*/ 368097 h 1816"/>
              <a:gd name="T8" fmla="*/ 1674323 w 1816"/>
              <a:gd name="T9" fmla="*/ 121853 h 1816"/>
              <a:gd name="T10" fmla="*/ 1352143 w 1816"/>
              <a:gd name="T11" fmla="*/ 147239 h 1816"/>
              <a:gd name="T12" fmla="*/ 1060405 w 1816"/>
              <a:gd name="T13" fmla="*/ 132007 h 1816"/>
              <a:gd name="T14" fmla="*/ 844772 w 1816"/>
              <a:gd name="T15" fmla="*/ 175163 h 1816"/>
              <a:gd name="T16" fmla="*/ 629140 w 1816"/>
              <a:gd name="T17" fmla="*/ 271630 h 1816"/>
              <a:gd name="T18" fmla="*/ 273980 w 1816"/>
              <a:gd name="T19" fmla="*/ 401099 h 1816"/>
              <a:gd name="T20" fmla="*/ 271443 w 1816"/>
              <a:gd name="T21" fmla="*/ 629573 h 1816"/>
              <a:gd name="T22" fmla="*/ 175043 w 1816"/>
              <a:gd name="T23" fmla="*/ 845354 h 1816"/>
              <a:gd name="T24" fmla="*/ 0 w 1816"/>
              <a:gd name="T25" fmla="*/ 1061135 h 1816"/>
              <a:gd name="T26" fmla="*/ 147138 w 1816"/>
              <a:gd name="T27" fmla="*/ 1353075 h 1816"/>
              <a:gd name="T28" fmla="*/ 243538 w 1816"/>
              <a:gd name="T29" fmla="*/ 1624705 h 1816"/>
              <a:gd name="T30" fmla="*/ 365307 w 1816"/>
              <a:gd name="T31" fmla="*/ 1810023 h 1816"/>
              <a:gd name="T32" fmla="*/ 537813 w 1816"/>
              <a:gd name="T33" fmla="*/ 1972493 h 1816"/>
              <a:gd name="T34" fmla="*/ 794035 w 1816"/>
              <a:gd name="T35" fmla="*/ 2251739 h 1816"/>
              <a:gd name="T36" fmla="*/ 1004594 w 1816"/>
              <a:gd name="T37" fmla="*/ 2165427 h 1816"/>
              <a:gd name="T38" fmla="*/ 1240521 w 1816"/>
              <a:gd name="T39" fmla="*/ 2173043 h 1816"/>
              <a:gd name="T40" fmla="*/ 1506891 w 1816"/>
              <a:gd name="T41" fmla="*/ 2251739 h 1816"/>
              <a:gd name="T42" fmla="*/ 1719987 w 1816"/>
              <a:gd name="T43" fmla="*/ 2002956 h 1816"/>
              <a:gd name="T44" fmla="*/ 1935619 w 1816"/>
              <a:gd name="T45" fmla="*/ 1810023 h 1816"/>
              <a:gd name="T46" fmla="*/ 2057388 w 1816"/>
              <a:gd name="T47" fmla="*/ 1624705 h 1816"/>
              <a:gd name="T48" fmla="*/ 2141104 w 1816"/>
              <a:gd name="T49" fmla="*/ 1406385 h 1816"/>
              <a:gd name="T50" fmla="*/ 1151732 w 1816"/>
              <a:gd name="T51" fmla="*/ 2048651 h 1816"/>
              <a:gd name="T52" fmla="*/ 971615 w 1816"/>
              <a:gd name="T53" fmla="*/ 2030881 h 1816"/>
              <a:gd name="T54" fmla="*/ 763593 w 1816"/>
              <a:gd name="T55" fmla="*/ 1959800 h 1816"/>
              <a:gd name="T56" fmla="*/ 580939 w 1816"/>
              <a:gd name="T57" fmla="*/ 1843025 h 1816"/>
              <a:gd name="T58" fmla="*/ 433802 w 1816"/>
              <a:gd name="T59" fmla="*/ 1688170 h 1816"/>
              <a:gd name="T60" fmla="*/ 324717 w 1816"/>
              <a:gd name="T61" fmla="*/ 1500313 h 1816"/>
              <a:gd name="T62" fmla="*/ 266370 w 1816"/>
              <a:gd name="T63" fmla="*/ 1289609 h 1816"/>
              <a:gd name="T64" fmla="*/ 256222 w 1816"/>
              <a:gd name="T65" fmla="*/ 1106830 h 1816"/>
              <a:gd name="T66" fmla="*/ 296812 w 1816"/>
              <a:gd name="T67" fmla="*/ 885972 h 1816"/>
              <a:gd name="T68" fmla="*/ 385602 w 1816"/>
              <a:gd name="T69" fmla="*/ 687961 h 1816"/>
              <a:gd name="T70" fmla="*/ 517518 w 1816"/>
              <a:gd name="T71" fmla="*/ 517875 h 1816"/>
              <a:gd name="T72" fmla="*/ 687487 w 1816"/>
              <a:gd name="T73" fmla="*/ 385867 h 1816"/>
              <a:gd name="T74" fmla="*/ 885362 w 1816"/>
              <a:gd name="T75" fmla="*/ 297016 h 1816"/>
              <a:gd name="T76" fmla="*/ 1106068 w 1816"/>
              <a:gd name="T77" fmla="*/ 256399 h 1816"/>
              <a:gd name="T78" fmla="*/ 1286185 w 1816"/>
              <a:gd name="T79" fmla="*/ 266553 h 1816"/>
              <a:gd name="T80" fmla="*/ 1499280 w 1816"/>
              <a:gd name="T81" fmla="*/ 327480 h 1816"/>
              <a:gd name="T82" fmla="*/ 1687008 w 1816"/>
              <a:gd name="T83" fmla="*/ 434101 h 1816"/>
              <a:gd name="T84" fmla="*/ 1841756 w 1816"/>
              <a:gd name="T85" fmla="*/ 581340 h 1816"/>
              <a:gd name="T86" fmla="*/ 1958451 w 1816"/>
              <a:gd name="T87" fmla="*/ 764119 h 1816"/>
              <a:gd name="T88" fmla="*/ 2026946 w 1816"/>
              <a:gd name="T89" fmla="*/ 972284 h 1816"/>
              <a:gd name="T90" fmla="*/ 2047241 w 1816"/>
              <a:gd name="T91" fmla="*/ 1152525 h 1816"/>
              <a:gd name="T92" fmla="*/ 2019335 w 1816"/>
              <a:gd name="T93" fmla="*/ 1375922 h 1816"/>
              <a:gd name="T94" fmla="*/ 1938156 w 1816"/>
              <a:gd name="T95" fmla="*/ 1579010 h 1816"/>
              <a:gd name="T96" fmla="*/ 1813850 w 1816"/>
              <a:gd name="T97" fmla="*/ 1754174 h 1816"/>
              <a:gd name="T98" fmla="*/ 1651492 w 1816"/>
              <a:gd name="T99" fmla="*/ 1893797 h 1816"/>
              <a:gd name="T100" fmla="*/ 1458691 w 1816"/>
              <a:gd name="T101" fmla="*/ 1992802 h 1816"/>
              <a:gd name="T102" fmla="*/ 1243058 w 1816"/>
              <a:gd name="T103" fmla="*/ 2043574 h 181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816"/>
              <a:gd name="T157" fmla="*/ 0 h 1816"/>
              <a:gd name="T158" fmla="*/ 1816 w 1816"/>
              <a:gd name="T159" fmla="*/ 1816 h 181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816" h="1816">
                <a:moveTo>
                  <a:pt x="1816" y="978"/>
                </a:moveTo>
                <a:lnTo>
                  <a:pt x="1816" y="836"/>
                </a:lnTo>
                <a:lnTo>
                  <a:pt x="1710" y="836"/>
                </a:lnTo>
                <a:lnTo>
                  <a:pt x="1706" y="792"/>
                </a:lnTo>
                <a:lnTo>
                  <a:pt x="1698" y="750"/>
                </a:lnTo>
                <a:lnTo>
                  <a:pt x="1688" y="708"/>
                </a:lnTo>
                <a:lnTo>
                  <a:pt x="1678" y="666"/>
                </a:lnTo>
                <a:lnTo>
                  <a:pt x="1774" y="626"/>
                </a:lnTo>
                <a:lnTo>
                  <a:pt x="1718" y="494"/>
                </a:lnTo>
                <a:lnTo>
                  <a:pt x="1622" y="534"/>
                </a:lnTo>
                <a:lnTo>
                  <a:pt x="1602" y="496"/>
                </a:lnTo>
                <a:lnTo>
                  <a:pt x="1578" y="460"/>
                </a:lnTo>
                <a:lnTo>
                  <a:pt x="1552" y="424"/>
                </a:lnTo>
                <a:lnTo>
                  <a:pt x="1526" y="390"/>
                </a:lnTo>
                <a:lnTo>
                  <a:pt x="1600" y="316"/>
                </a:lnTo>
                <a:lnTo>
                  <a:pt x="1498" y="216"/>
                </a:lnTo>
                <a:lnTo>
                  <a:pt x="1426" y="290"/>
                </a:lnTo>
                <a:lnTo>
                  <a:pt x="1392" y="262"/>
                </a:lnTo>
                <a:lnTo>
                  <a:pt x="1356" y="236"/>
                </a:lnTo>
                <a:lnTo>
                  <a:pt x="1318" y="214"/>
                </a:lnTo>
                <a:lnTo>
                  <a:pt x="1280" y="192"/>
                </a:lnTo>
                <a:lnTo>
                  <a:pt x="1320" y="96"/>
                </a:lnTo>
                <a:lnTo>
                  <a:pt x="1188" y="42"/>
                </a:lnTo>
                <a:lnTo>
                  <a:pt x="1150" y="138"/>
                </a:lnTo>
                <a:lnTo>
                  <a:pt x="1108" y="126"/>
                </a:lnTo>
                <a:lnTo>
                  <a:pt x="1066" y="116"/>
                </a:lnTo>
                <a:lnTo>
                  <a:pt x="1022" y="110"/>
                </a:lnTo>
                <a:lnTo>
                  <a:pt x="978" y="104"/>
                </a:lnTo>
                <a:lnTo>
                  <a:pt x="978" y="0"/>
                </a:lnTo>
                <a:lnTo>
                  <a:pt x="836" y="0"/>
                </a:lnTo>
                <a:lnTo>
                  <a:pt x="836" y="104"/>
                </a:lnTo>
                <a:lnTo>
                  <a:pt x="792" y="110"/>
                </a:lnTo>
                <a:lnTo>
                  <a:pt x="750" y="116"/>
                </a:lnTo>
                <a:lnTo>
                  <a:pt x="706" y="126"/>
                </a:lnTo>
                <a:lnTo>
                  <a:pt x="666" y="138"/>
                </a:lnTo>
                <a:lnTo>
                  <a:pt x="626" y="42"/>
                </a:lnTo>
                <a:lnTo>
                  <a:pt x="494" y="96"/>
                </a:lnTo>
                <a:lnTo>
                  <a:pt x="534" y="192"/>
                </a:lnTo>
                <a:lnTo>
                  <a:pt x="496" y="214"/>
                </a:lnTo>
                <a:lnTo>
                  <a:pt x="460" y="236"/>
                </a:lnTo>
                <a:lnTo>
                  <a:pt x="424" y="262"/>
                </a:lnTo>
                <a:lnTo>
                  <a:pt x="390" y="290"/>
                </a:lnTo>
                <a:lnTo>
                  <a:pt x="316" y="216"/>
                </a:lnTo>
                <a:lnTo>
                  <a:pt x="216" y="316"/>
                </a:lnTo>
                <a:lnTo>
                  <a:pt x="288" y="390"/>
                </a:lnTo>
                <a:lnTo>
                  <a:pt x="262" y="424"/>
                </a:lnTo>
                <a:lnTo>
                  <a:pt x="236" y="460"/>
                </a:lnTo>
                <a:lnTo>
                  <a:pt x="214" y="496"/>
                </a:lnTo>
                <a:lnTo>
                  <a:pt x="192" y="534"/>
                </a:lnTo>
                <a:lnTo>
                  <a:pt x="96" y="494"/>
                </a:lnTo>
                <a:lnTo>
                  <a:pt x="42" y="626"/>
                </a:lnTo>
                <a:lnTo>
                  <a:pt x="138" y="666"/>
                </a:lnTo>
                <a:lnTo>
                  <a:pt x="126" y="708"/>
                </a:lnTo>
                <a:lnTo>
                  <a:pt x="116" y="750"/>
                </a:lnTo>
                <a:lnTo>
                  <a:pt x="108" y="792"/>
                </a:lnTo>
                <a:lnTo>
                  <a:pt x="104" y="836"/>
                </a:lnTo>
                <a:lnTo>
                  <a:pt x="0" y="836"/>
                </a:lnTo>
                <a:lnTo>
                  <a:pt x="0" y="978"/>
                </a:lnTo>
                <a:lnTo>
                  <a:pt x="104" y="978"/>
                </a:lnTo>
                <a:lnTo>
                  <a:pt x="108" y="1022"/>
                </a:lnTo>
                <a:lnTo>
                  <a:pt x="116" y="1066"/>
                </a:lnTo>
                <a:lnTo>
                  <a:pt x="126" y="1108"/>
                </a:lnTo>
                <a:lnTo>
                  <a:pt x="138" y="1150"/>
                </a:lnTo>
                <a:lnTo>
                  <a:pt x="42" y="1190"/>
                </a:lnTo>
                <a:lnTo>
                  <a:pt x="96" y="1320"/>
                </a:lnTo>
                <a:lnTo>
                  <a:pt x="192" y="1280"/>
                </a:lnTo>
                <a:lnTo>
                  <a:pt x="214" y="1320"/>
                </a:lnTo>
                <a:lnTo>
                  <a:pt x="236" y="1356"/>
                </a:lnTo>
                <a:lnTo>
                  <a:pt x="262" y="1392"/>
                </a:lnTo>
                <a:lnTo>
                  <a:pt x="288" y="1426"/>
                </a:lnTo>
                <a:lnTo>
                  <a:pt x="216" y="1500"/>
                </a:lnTo>
                <a:lnTo>
                  <a:pt x="316" y="1600"/>
                </a:lnTo>
                <a:lnTo>
                  <a:pt x="390" y="1526"/>
                </a:lnTo>
                <a:lnTo>
                  <a:pt x="424" y="1554"/>
                </a:lnTo>
                <a:lnTo>
                  <a:pt x="460" y="1578"/>
                </a:lnTo>
                <a:lnTo>
                  <a:pt x="496" y="1602"/>
                </a:lnTo>
                <a:lnTo>
                  <a:pt x="534" y="1622"/>
                </a:lnTo>
                <a:lnTo>
                  <a:pt x="494" y="1718"/>
                </a:lnTo>
                <a:lnTo>
                  <a:pt x="626" y="1774"/>
                </a:lnTo>
                <a:lnTo>
                  <a:pt x="666" y="1678"/>
                </a:lnTo>
                <a:lnTo>
                  <a:pt x="706" y="1690"/>
                </a:lnTo>
                <a:lnTo>
                  <a:pt x="750" y="1698"/>
                </a:lnTo>
                <a:lnTo>
                  <a:pt x="792" y="1706"/>
                </a:lnTo>
                <a:lnTo>
                  <a:pt x="836" y="1712"/>
                </a:lnTo>
                <a:lnTo>
                  <a:pt x="836" y="1816"/>
                </a:lnTo>
                <a:lnTo>
                  <a:pt x="978" y="1816"/>
                </a:lnTo>
                <a:lnTo>
                  <a:pt x="978" y="1712"/>
                </a:lnTo>
                <a:lnTo>
                  <a:pt x="1022" y="1706"/>
                </a:lnTo>
                <a:lnTo>
                  <a:pt x="1066" y="1698"/>
                </a:lnTo>
                <a:lnTo>
                  <a:pt x="1108" y="1690"/>
                </a:lnTo>
                <a:lnTo>
                  <a:pt x="1150" y="1678"/>
                </a:lnTo>
                <a:lnTo>
                  <a:pt x="1188" y="1774"/>
                </a:lnTo>
                <a:lnTo>
                  <a:pt x="1320" y="1718"/>
                </a:lnTo>
                <a:lnTo>
                  <a:pt x="1280" y="1622"/>
                </a:lnTo>
                <a:lnTo>
                  <a:pt x="1318" y="1602"/>
                </a:lnTo>
                <a:lnTo>
                  <a:pt x="1356" y="1578"/>
                </a:lnTo>
                <a:lnTo>
                  <a:pt x="1392" y="1554"/>
                </a:lnTo>
                <a:lnTo>
                  <a:pt x="1426" y="1526"/>
                </a:lnTo>
                <a:lnTo>
                  <a:pt x="1498" y="1600"/>
                </a:lnTo>
                <a:lnTo>
                  <a:pt x="1600" y="1500"/>
                </a:lnTo>
                <a:lnTo>
                  <a:pt x="1526" y="1426"/>
                </a:lnTo>
                <a:lnTo>
                  <a:pt x="1552" y="1392"/>
                </a:lnTo>
                <a:lnTo>
                  <a:pt x="1578" y="1356"/>
                </a:lnTo>
                <a:lnTo>
                  <a:pt x="1602" y="1320"/>
                </a:lnTo>
                <a:lnTo>
                  <a:pt x="1622" y="1280"/>
                </a:lnTo>
                <a:lnTo>
                  <a:pt x="1718" y="1320"/>
                </a:lnTo>
                <a:lnTo>
                  <a:pt x="1774" y="1190"/>
                </a:lnTo>
                <a:lnTo>
                  <a:pt x="1678" y="1150"/>
                </a:lnTo>
                <a:lnTo>
                  <a:pt x="1688" y="1108"/>
                </a:lnTo>
                <a:lnTo>
                  <a:pt x="1698" y="1066"/>
                </a:lnTo>
                <a:lnTo>
                  <a:pt x="1706" y="1022"/>
                </a:lnTo>
                <a:lnTo>
                  <a:pt x="1710" y="978"/>
                </a:lnTo>
                <a:lnTo>
                  <a:pt x="1816" y="978"/>
                </a:lnTo>
                <a:close/>
                <a:moveTo>
                  <a:pt x="908" y="1614"/>
                </a:moveTo>
                <a:lnTo>
                  <a:pt x="908" y="1614"/>
                </a:lnTo>
                <a:lnTo>
                  <a:pt x="872" y="1612"/>
                </a:lnTo>
                <a:lnTo>
                  <a:pt x="836" y="1610"/>
                </a:lnTo>
                <a:lnTo>
                  <a:pt x="800" y="1606"/>
                </a:lnTo>
                <a:lnTo>
                  <a:pt x="766" y="1600"/>
                </a:lnTo>
                <a:lnTo>
                  <a:pt x="730" y="1592"/>
                </a:lnTo>
                <a:lnTo>
                  <a:pt x="698" y="1582"/>
                </a:lnTo>
                <a:lnTo>
                  <a:pt x="664" y="1570"/>
                </a:lnTo>
                <a:lnTo>
                  <a:pt x="632" y="1558"/>
                </a:lnTo>
                <a:lnTo>
                  <a:pt x="602" y="1544"/>
                </a:lnTo>
                <a:lnTo>
                  <a:pt x="570" y="1528"/>
                </a:lnTo>
                <a:lnTo>
                  <a:pt x="542" y="1512"/>
                </a:lnTo>
                <a:lnTo>
                  <a:pt x="512" y="1492"/>
                </a:lnTo>
                <a:lnTo>
                  <a:pt x="484" y="1474"/>
                </a:lnTo>
                <a:lnTo>
                  <a:pt x="458" y="1452"/>
                </a:lnTo>
                <a:lnTo>
                  <a:pt x="432" y="1430"/>
                </a:lnTo>
                <a:lnTo>
                  <a:pt x="408" y="1406"/>
                </a:lnTo>
                <a:lnTo>
                  <a:pt x="384" y="1382"/>
                </a:lnTo>
                <a:lnTo>
                  <a:pt x="362" y="1356"/>
                </a:lnTo>
                <a:lnTo>
                  <a:pt x="342" y="1330"/>
                </a:lnTo>
                <a:lnTo>
                  <a:pt x="322" y="1302"/>
                </a:lnTo>
                <a:lnTo>
                  <a:pt x="304" y="1274"/>
                </a:lnTo>
                <a:lnTo>
                  <a:pt x="286" y="1244"/>
                </a:lnTo>
                <a:lnTo>
                  <a:pt x="272" y="1214"/>
                </a:lnTo>
                <a:lnTo>
                  <a:pt x="256" y="1182"/>
                </a:lnTo>
                <a:lnTo>
                  <a:pt x="244" y="1150"/>
                </a:lnTo>
                <a:lnTo>
                  <a:pt x="234" y="1118"/>
                </a:lnTo>
                <a:lnTo>
                  <a:pt x="224" y="1084"/>
                </a:lnTo>
                <a:lnTo>
                  <a:pt x="216" y="1050"/>
                </a:lnTo>
                <a:lnTo>
                  <a:pt x="210" y="1016"/>
                </a:lnTo>
                <a:lnTo>
                  <a:pt x="206" y="980"/>
                </a:lnTo>
                <a:lnTo>
                  <a:pt x="202" y="944"/>
                </a:lnTo>
                <a:lnTo>
                  <a:pt x="202" y="908"/>
                </a:lnTo>
                <a:lnTo>
                  <a:pt x="202" y="872"/>
                </a:lnTo>
                <a:lnTo>
                  <a:pt x="206" y="836"/>
                </a:lnTo>
                <a:lnTo>
                  <a:pt x="210" y="800"/>
                </a:lnTo>
                <a:lnTo>
                  <a:pt x="216" y="766"/>
                </a:lnTo>
                <a:lnTo>
                  <a:pt x="224" y="732"/>
                </a:lnTo>
                <a:lnTo>
                  <a:pt x="234" y="698"/>
                </a:lnTo>
                <a:lnTo>
                  <a:pt x="244" y="664"/>
                </a:lnTo>
                <a:lnTo>
                  <a:pt x="256" y="632"/>
                </a:lnTo>
                <a:lnTo>
                  <a:pt x="272" y="602"/>
                </a:lnTo>
                <a:lnTo>
                  <a:pt x="286" y="572"/>
                </a:lnTo>
                <a:lnTo>
                  <a:pt x="304" y="542"/>
                </a:lnTo>
                <a:lnTo>
                  <a:pt x="322" y="512"/>
                </a:lnTo>
                <a:lnTo>
                  <a:pt x="342" y="486"/>
                </a:lnTo>
                <a:lnTo>
                  <a:pt x="362" y="458"/>
                </a:lnTo>
                <a:lnTo>
                  <a:pt x="384" y="432"/>
                </a:lnTo>
                <a:lnTo>
                  <a:pt x="408" y="408"/>
                </a:lnTo>
                <a:lnTo>
                  <a:pt x="432" y="386"/>
                </a:lnTo>
                <a:lnTo>
                  <a:pt x="458" y="362"/>
                </a:lnTo>
                <a:lnTo>
                  <a:pt x="484" y="342"/>
                </a:lnTo>
                <a:lnTo>
                  <a:pt x="512" y="322"/>
                </a:lnTo>
                <a:lnTo>
                  <a:pt x="542" y="304"/>
                </a:lnTo>
                <a:lnTo>
                  <a:pt x="570" y="286"/>
                </a:lnTo>
                <a:lnTo>
                  <a:pt x="602" y="272"/>
                </a:lnTo>
                <a:lnTo>
                  <a:pt x="632" y="258"/>
                </a:lnTo>
                <a:lnTo>
                  <a:pt x="664" y="244"/>
                </a:lnTo>
                <a:lnTo>
                  <a:pt x="698" y="234"/>
                </a:lnTo>
                <a:lnTo>
                  <a:pt x="730" y="224"/>
                </a:lnTo>
                <a:lnTo>
                  <a:pt x="766" y="216"/>
                </a:lnTo>
                <a:lnTo>
                  <a:pt x="800" y="210"/>
                </a:lnTo>
                <a:lnTo>
                  <a:pt x="836" y="206"/>
                </a:lnTo>
                <a:lnTo>
                  <a:pt x="872" y="202"/>
                </a:lnTo>
                <a:lnTo>
                  <a:pt x="908" y="202"/>
                </a:lnTo>
                <a:lnTo>
                  <a:pt x="944" y="202"/>
                </a:lnTo>
                <a:lnTo>
                  <a:pt x="980" y="206"/>
                </a:lnTo>
                <a:lnTo>
                  <a:pt x="1014" y="210"/>
                </a:lnTo>
                <a:lnTo>
                  <a:pt x="1050" y="216"/>
                </a:lnTo>
                <a:lnTo>
                  <a:pt x="1084" y="224"/>
                </a:lnTo>
                <a:lnTo>
                  <a:pt x="1118" y="234"/>
                </a:lnTo>
                <a:lnTo>
                  <a:pt x="1150" y="244"/>
                </a:lnTo>
                <a:lnTo>
                  <a:pt x="1182" y="258"/>
                </a:lnTo>
                <a:lnTo>
                  <a:pt x="1214" y="272"/>
                </a:lnTo>
                <a:lnTo>
                  <a:pt x="1244" y="286"/>
                </a:lnTo>
                <a:lnTo>
                  <a:pt x="1274" y="304"/>
                </a:lnTo>
                <a:lnTo>
                  <a:pt x="1302" y="322"/>
                </a:lnTo>
                <a:lnTo>
                  <a:pt x="1330" y="342"/>
                </a:lnTo>
                <a:lnTo>
                  <a:pt x="1356" y="362"/>
                </a:lnTo>
                <a:lnTo>
                  <a:pt x="1382" y="386"/>
                </a:lnTo>
                <a:lnTo>
                  <a:pt x="1406" y="408"/>
                </a:lnTo>
                <a:lnTo>
                  <a:pt x="1430" y="432"/>
                </a:lnTo>
                <a:lnTo>
                  <a:pt x="1452" y="458"/>
                </a:lnTo>
                <a:lnTo>
                  <a:pt x="1474" y="486"/>
                </a:lnTo>
                <a:lnTo>
                  <a:pt x="1492" y="512"/>
                </a:lnTo>
                <a:lnTo>
                  <a:pt x="1512" y="542"/>
                </a:lnTo>
                <a:lnTo>
                  <a:pt x="1528" y="572"/>
                </a:lnTo>
                <a:lnTo>
                  <a:pt x="1544" y="602"/>
                </a:lnTo>
                <a:lnTo>
                  <a:pt x="1558" y="632"/>
                </a:lnTo>
                <a:lnTo>
                  <a:pt x="1570" y="664"/>
                </a:lnTo>
                <a:lnTo>
                  <a:pt x="1582" y="698"/>
                </a:lnTo>
                <a:lnTo>
                  <a:pt x="1592" y="732"/>
                </a:lnTo>
                <a:lnTo>
                  <a:pt x="1598" y="766"/>
                </a:lnTo>
                <a:lnTo>
                  <a:pt x="1606" y="800"/>
                </a:lnTo>
                <a:lnTo>
                  <a:pt x="1610" y="836"/>
                </a:lnTo>
                <a:lnTo>
                  <a:pt x="1612" y="872"/>
                </a:lnTo>
                <a:lnTo>
                  <a:pt x="1614" y="908"/>
                </a:lnTo>
                <a:lnTo>
                  <a:pt x="1612" y="944"/>
                </a:lnTo>
                <a:lnTo>
                  <a:pt x="1610" y="980"/>
                </a:lnTo>
                <a:lnTo>
                  <a:pt x="1606" y="1016"/>
                </a:lnTo>
                <a:lnTo>
                  <a:pt x="1598" y="1050"/>
                </a:lnTo>
                <a:lnTo>
                  <a:pt x="1592" y="1084"/>
                </a:lnTo>
                <a:lnTo>
                  <a:pt x="1582" y="1118"/>
                </a:lnTo>
                <a:lnTo>
                  <a:pt x="1570" y="1150"/>
                </a:lnTo>
                <a:lnTo>
                  <a:pt x="1558" y="1182"/>
                </a:lnTo>
                <a:lnTo>
                  <a:pt x="1544" y="1214"/>
                </a:lnTo>
                <a:lnTo>
                  <a:pt x="1528" y="1244"/>
                </a:lnTo>
                <a:lnTo>
                  <a:pt x="1512" y="1274"/>
                </a:lnTo>
                <a:lnTo>
                  <a:pt x="1492" y="1302"/>
                </a:lnTo>
                <a:lnTo>
                  <a:pt x="1474" y="1330"/>
                </a:lnTo>
                <a:lnTo>
                  <a:pt x="1452" y="1356"/>
                </a:lnTo>
                <a:lnTo>
                  <a:pt x="1430" y="1382"/>
                </a:lnTo>
                <a:lnTo>
                  <a:pt x="1406" y="1406"/>
                </a:lnTo>
                <a:lnTo>
                  <a:pt x="1382" y="1430"/>
                </a:lnTo>
                <a:lnTo>
                  <a:pt x="1356" y="1452"/>
                </a:lnTo>
                <a:lnTo>
                  <a:pt x="1330" y="1474"/>
                </a:lnTo>
                <a:lnTo>
                  <a:pt x="1302" y="1492"/>
                </a:lnTo>
                <a:lnTo>
                  <a:pt x="1274" y="1512"/>
                </a:lnTo>
                <a:lnTo>
                  <a:pt x="1244" y="1528"/>
                </a:lnTo>
                <a:lnTo>
                  <a:pt x="1214" y="1544"/>
                </a:lnTo>
                <a:lnTo>
                  <a:pt x="1182" y="1558"/>
                </a:lnTo>
                <a:lnTo>
                  <a:pt x="1150" y="1570"/>
                </a:lnTo>
                <a:lnTo>
                  <a:pt x="1118" y="1582"/>
                </a:lnTo>
                <a:lnTo>
                  <a:pt x="1084" y="1592"/>
                </a:lnTo>
                <a:lnTo>
                  <a:pt x="1050" y="1600"/>
                </a:lnTo>
                <a:lnTo>
                  <a:pt x="1014" y="1606"/>
                </a:lnTo>
                <a:lnTo>
                  <a:pt x="980" y="1610"/>
                </a:lnTo>
                <a:lnTo>
                  <a:pt x="944" y="1612"/>
                </a:lnTo>
                <a:lnTo>
                  <a:pt x="908" y="1614"/>
                </a:lnTo>
                <a:close/>
              </a:path>
            </a:pathLst>
          </a:custGeom>
          <a:solidFill>
            <a:srgbClr val="80808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cap="rnd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9" name="Oval 680">
            <a:extLst>
              <a:ext uri="{FF2B5EF4-FFF2-40B4-BE49-F238E27FC236}">
                <a16:creationId xmlns:a16="http://schemas.microsoft.com/office/drawing/2014/main" id="{5BFBD8C3-5C10-47A3-B972-16BCC5217DC0}"/>
              </a:ext>
            </a:extLst>
          </p:cNvPr>
          <p:cNvSpPr>
            <a:spLocks noChangeArrowheads="1"/>
          </p:cNvSpPr>
          <p:nvPr/>
        </p:nvSpPr>
        <p:spPr bwMode="auto">
          <a:xfrm rot="21275257">
            <a:off x="8371557" y="4106069"/>
            <a:ext cx="1577975" cy="1577975"/>
          </a:xfrm>
          <a:prstGeom prst="ellipse">
            <a:avLst/>
          </a:prstGeom>
          <a:gradFill rotWithShape="1">
            <a:gsLst>
              <a:gs pos="0">
                <a:srgbClr val="0099CC"/>
              </a:gs>
              <a:gs pos="100000">
                <a:srgbClr val="007DA7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10" name="Arc 681">
            <a:extLst>
              <a:ext uri="{FF2B5EF4-FFF2-40B4-BE49-F238E27FC236}">
                <a16:creationId xmlns:a16="http://schemas.microsoft.com/office/drawing/2014/main" id="{272F49DF-CAB9-4D5C-8F27-84888C1C0218}"/>
              </a:ext>
            </a:extLst>
          </p:cNvPr>
          <p:cNvSpPr>
            <a:spLocks/>
          </p:cNvSpPr>
          <p:nvPr/>
        </p:nvSpPr>
        <p:spPr bwMode="auto">
          <a:xfrm rot="7501686">
            <a:off x="6457826" y="3675063"/>
            <a:ext cx="1906587" cy="1549400"/>
          </a:xfrm>
          <a:custGeom>
            <a:avLst/>
            <a:gdLst>
              <a:gd name="T0" fmla="*/ 115621791 w 21600"/>
              <a:gd name="T1" fmla="*/ 0 h 15695"/>
              <a:gd name="T2" fmla="*/ 168290462 w 21600"/>
              <a:gd name="T3" fmla="*/ 152955741 h 15695"/>
              <a:gd name="T4" fmla="*/ 0 w 21600"/>
              <a:gd name="T5" fmla="*/ 152955741 h 15695"/>
              <a:gd name="T6" fmla="*/ 0 60000 65536"/>
              <a:gd name="T7" fmla="*/ 0 60000 65536"/>
              <a:gd name="T8" fmla="*/ 0 60000 65536"/>
              <a:gd name="T9" fmla="*/ 0 w 21600"/>
              <a:gd name="T10" fmla="*/ 0 h 15695"/>
              <a:gd name="T11" fmla="*/ 21600 w 21600"/>
              <a:gd name="T12" fmla="*/ 15695 h 156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5695" fill="none" extrusionOk="0">
                <a:moveTo>
                  <a:pt x="14840" y="-1"/>
                </a:moveTo>
                <a:cubicBezTo>
                  <a:pt x="19155" y="4079"/>
                  <a:pt x="21600" y="9756"/>
                  <a:pt x="21600" y="15695"/>
                </a:cubicBezTo>
              </a:path>
              <a:path w="21600" h="15695" stroke="0" extrusionOk="0">
                <a:moveTo>
                  <a:pt x="14840" y="-1"/>
                </a:moveTo>
                <a:cubicBezTo>
                  <a:pt x="19155" y="4079"/>
                  <a:pt x="21600" y="9756"/>
                  <a:pt x="21600" y="15695"/>
                </a:cubicBezTo>
                <a:lnTo>
                  <a:pt x="0" y="15695"/>
                </a:lnTo>
                <a:lnTo>
                  <a:pt x="14840" y="-1"/>
                </a:lnTo>
                <a:close/>
              </a:path>
            </a:pathLst>
          </a:custGeom>
          <a:noFill/>
          <a:ln w="76200">
            <a:solidFill>
              <a:srgbClr val="008FBF"/>
            </a:solidFill>
            <a:prstDash val="solid"/>
            <a:round/>
            <a:headEnd w="lg" len="lg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Arc 683">
            <a:extLst>
              <a:ext uri="{FF2B5EF4-FFF2-40B4-BE49-F238E27FC236}">
                <a16:creationId xmlns:a16="http://schemas.microsoft.com/office/drawing/2014/main" id="{7A91A1EE-18A0-4625-927F-038D66069E7C}"/>
              </a:ext>
            </a:extLst>
          </p:cNvPr>
          <p:cNvSpPr>
            <a:spLocks/>
          </p:cNvSpPr>
          <p:nvPr/>
        </p:nvSpPr>
        <p:spPr bwMode="auto">
          <a:xfrm rot="256945">
            <a:off x="9335170" y="2810669"/>
            <a:ext cx="620712" cy="898525"/>
          </a:xfrm>
          <a:custGeom>
            <a:avLst/>
            <a:gdLst>
              <a:gd name="T0" fmla="*/ 2673113 w 21600"/>
              <a:gd name="T1" fmla="*/ 0 h 31203"/>
              <a:gd name="T2" fmla="*/ 15875916 w 21600"/>
              <a:gd name="T3" fmla="*/ 25874024 h 31203"/>
              <a:gd name="T4" fmla="*/ 0 w 21600"/>
              <a:gd name="T5" fmla="*/ 17708743 h 31203"/>
              <a:gd name="T6" fmla="*/ 0 60000 65536"/>
              <a:gd name="T7" fmla="*/ 0 60000 65536"/>
              <a:gd name="T8" fmla="*/ 0 60000 65536"/>
              <a:gd name="T9" fmla="*/ 0 w 21600"/>
              <a:gd name="T10" fmla="*/ 0 h 31203"/>
              <a:gd name="T11" fmla="*/ 21600 w 21600"/>
              <a:gd name="T12" fmla="*/ 31203 h 3120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31203" fill="none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  <a:cubicBezTo>
                  <a:pt x="21600" y="24780"/>
                  <a:pt x="20785" y="28155"/>
                  <a:pt x="19224" y="31202"/>
                </a:cubicBezTo>
              </a:path>
              <a:path w="21600" h="31203" stroke="0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  <a:cubicBezTo>
                  <a:pt x="21600" y="24780"/>
                  <a:pt x="20785" y="28155"/>
                  <a:pt x="19224" y="31202"/>
                </a:cubicBezTo>
                <a:lnTo>
                  <a:pt x="0" y="21356"/>
                </a:lnTo>
                <a:lnTo>
                  <a:pt x="3237" y="-1"/>
                </a:lnTo>
                <a:close/>
              </a:path>
            </a:pathLst>
          </a:custGeom>
          <a:noFill/>
          <a:ln w="76200">
            <a:solidFill>
              <a:srgbClr val="905603"/>
            </a:solidFill>
            <a:prstDash val="solid"/>
            <a:round/>
            <a:headEnd w="lg" len="lg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34DCE9A-7477-49DC-9590-762A2583B1C3}"/>
              </a:ext>
            </a:extLst>
          </p:cNvPr>
          <p:cNvGrpSpPr/>
          <p:nvPr/>
        </p:nvGrpSpPr>
        <p:grpSpPr>
          <a:xfrm>
            <a:off x="3889471" y="2788748"/>
            <a:ext cx="2061287" cy="1112083"/>
            <a:chOff x="6780213" y="3556000"/>
            <a:chExt cx="582613" cy="314325"/>
          </a:xfrm>
          <a:solidFill>
            <a:schemeClr val="bg1"/>
          </a:solidFill>
        </p:grpSpPr>
        <p:sp>
          <p:nvSpPr>
            <p:cNvPr id="13" name="Freeform 4021">
              <a:extLst>
                <a:ext uri="{FF2B5EF4-FFF2-40B4-BE49-F238E27FC236}">
                  <a16:creationId xmlns:a16="http://schemas.microsoft.com/office/drawing/2014/main" id="{4C1AACF5-30D9-4902-A1F4-0BBF33846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6251" y="3781425"/>
              <a:ext cx="93663" cy="88900"/>
            </a:xfrm>
            <a:custGeom>
              <a:avLst/>
              <a:gdLst>
                <a:gd name="T0" fmla="*/ 0 w 25"/>
                <a:gd name="T1" fmla="*/ 12 h 24"/>
                <a:gd name="T2" fmla="*/ 12 w 25"/>
                <a:gd name="T3" fmla="*/ 24 h 24"/>
                <a:gd name="T4" fmla="*/ 25 w 25"/>
                <a:gd name="T5" fmla="*/ 12 h 24"/>
                <a:gd name="T6" fmla="*/ 12 w 25"/>
                <a:gd name="T7" fmla="*/ 0 h 24"/>
                <a:gd name="T8" fmla="*/ 0 w 25"/>
                <a:gd name="T9" fmla="*/ 12 h 24"/>
                <a:gd name="T10" fmla="*/ 9 w 25"/>
                <a:gd name="T11" fmla="*/ 12 h 24"/>
                <a:gd name="T12" fmla="*/ 12 w 25"/>
                <a:gd name="T13" fmla="*/ 9 h 24"/>
                <a:gd name="T14" fmla="*/ 16 w 25"/>
                <a:gd name="T15" fmla="*/ 12 h 24"/>
                <a:gd name="T16" fmla="*/ 12 w 25"/>
                <a:gd name="T17" fmla="*/ 16 h 24"/>
                <a:gd name="T18" fmla="*/ 9 w 25"/>
                <a:gd name="T1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cubicBezTo>
                    <a:pt x="0" y="19"/>
                    <a:pt x="6" y="24"/>
                    <a:pt x="12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lose/>
                  <a:moveTo>
                    <a:pt x="9" y="12"/>
                  </a:moveTo>
                  <a:cubicBezTo>
                    <a:pt x="9" y="10"/>
                    <a:pt x="10" y="9"/>
                    <a:pt x="12" y="9"/>
                  </a:cubicBezTo>
                  <a:cubicBezTo>
                    <a:pt x="14" y="9"/>
                    <a:pt x="16" y="10"/>
                    <a:pt x="16" y="12"/>
                  </a:cubicBezTo>
                  <a:cubicBezTo>
                    <a:pt x="16" y="14"/>
                    <a:pt x="14" y="16"/>
                    <a:pt x="12" y="16"/>
                  </a:cubicBezTo>
                  <a:cubicBezTo>
                    <a:pt x="10" y="16"/>
                    <a:pt x="9" y="14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4022">
              <a:extLst>
                <a:ext uri="{FF2B5EF4-FFF2-40B4-BE49-F238E27FC236}">
                  <a16:creationId xmlns:a16="http://schemas.microsoft.com/office/drawing/2014/main" id="{A2D3C963-592A-403E-8D85-328E95731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0213" y="3627438"/>
              <a:ext cx="398463" cy="195262"/>
            </a:xfrm>
            <a:custGeom>
              <a:avLst/>
              <a:gdLst>
                <a:gd name="T0" fmla="*/ 5 w 106"/>
                <a:gd name="T1" fmla="*/ 47 h 52"/>
                <a:gd name="T2" fmla="*/ 9 w 106"/>
                <a:gd name="T3" fmla="*/ 50 h 52"/>
                <a:gd name="T4" fmla="*/ 25 w 106"/>
                <a:gd name="T5" fmla="*/ 37 h 52"/>
                <a:gd name="T6" fmla="*/ 40 w 106"/>
                <a:gd name="T7" fmla="*/ 50 h 52"/>
                <a:gd name="T8" fmla="*/ 69 w 106"/>
                <a:gd name="T9" fmla="*/ 50 h 52"/>
                <a:gd name="T10" fmla="*/ 84 w 106"/>
                <a:gd name="T11" fmla="*/ 37 h 52"/>
                <a:gd name="T12" fmla="*/ 100 w 106"/>
                <a:gd name="T13" fmla="*/ 51 h 52"/>
                <a:gd name="T14" fmla="*/ 106 w 106"/>
                <a:gd name="T15" fmla="*/ 45 h 52"/>
                <a:gd name="T16" fmla="*/ 83 w 106"/>
                <a:gd name="T17" fmla="*/ 7 h 52"/>
                <a:gd name="T18" fmla="*/ 32 w 106"/>
                <a:gd name="T19" fmla="*/ 21 h 52"/>
                <a:gd name="T20" fmla="*/ 5 w 106"/>
                <a:gd name="T21" fmla="*/ 47 h 52"/>
                <a:gd name="T22" fmla="*/ 72 w 106"/>
                <a:gd name="T23" fmla="*/ 22 h 52"/>
                <a:gd name="T24" fmla="*/ 72 w 106"/>
                <a:gd name="T25" fmla="*/ 9 h 52"/>
                <a:gd name="T26" fmla="*/ 96 w 106"/>
                <a:gd name="T27" fmla="*/ 22 h 52"/>
                <a:gd name="T28" fmla="*/ 72 w 106"/>
                <a:gd name="T29" fmla="*/ 22 h 52"/>
                <a:gd name="T30" fmla="*/ 40 w 106"/>
                <a:gd name="T31" fmla="*/ 22 h 52"/>
                <a:gd name="T32" fmla="*/ 62 w 106"/>
                <a:gd name="T33" fmla="*/ 9 h 52"/>
                <a:gd name="T34" fmla="*/ 68 w 106"/>
                <a:gd name="T35" fmla="*/ 9 h 52"/>
                <a:gd name="T36" fmla="*/ 68 w 106"/>
                <a:gd name="T37" fmla="*/ 22 h 52"/>
                <a:gd name="T38" fmla="*/ 40 w 106"/>
                <a:gd name="T39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52">
                  <a:moveTo>
                    <a:pt x="5" y="47"/>
                  </a:moveTo>
                  <a:cubicBezTo>
                    <a:pt x="5" y="48"/>
                    <a:pt x="5" y="50"/>
                    <a:pt x="9" y="50"/>
                  </a:cubicBezTo>
                  <a:cubicBezTo>
                    <a:pt x="10" y="43"/>
                    <a:pt x="17" y="37"/>
                    <a:pt x="25" y="37"/>
                  </a:cubicBezTo>
                  <a:cubicBezTo>
                    <a:pt x="32" y="37"/>
                    <a:pt x="39" y="43"/>
                    <a:pt x="40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70" y="43"/>
                    <a:pt x="76" y="37"/>
                    <a:pt x="84" y="37"/>
                  </a:cubicBezTo>
                  <a:cubicBezTo>
                    <a:pt x="92" y="37"/>
                    <a:pt x="99" y="43"/>
                    <a:pt x="100" y="51"/>
                  </a:cubicBezTo>
                  <a:cubicBezTo>
                    <a:pt x="102" y="51"/>
                    <a:pt x="106" y="52"/>
                    <a:pt x="106" y="45"/>
                  </a:cubicBezTo>
                  <a:cubicBezTo>
                    <a:pt x="106" y="37"/>
                    <a:pt x="106" y="13"/>
                    <a:pt x="83" y="7"/>
                  </a:cubicBezTo>
                  <a:cubicBezTo>
                    <a:pt x="60" y="0"/>
                    <a:pt x="41" y="6"/>
                    <a:pt x="32" y="21"/>
                  </a:cubicBezTo>
                  <a:cubicBezTo>
                    <a:pt x="32" y="21"/>
                    <a:pt x="0" y="26"/>
                    <a:pt x="5" y="47"/>
                  </a:cubicBezTo>
                  <a:close/>
                  <a:moveTo>
                    <a:pt x="72" y="22"/>
                  </a:moveTo>
                  <a:cubicBezTo>
                    <a:pt x="72" y="9"/>
                    <a:pt x="72" y="9"/>
                    <a:pt x="72" y="9"/>
                  </a:cubicBezTo>
                  <a:cubicBezTo>
                    <a:pt x="83" y="10"/>
                    <a:pt x="92" y="14"/>
                    <a:pt x="96" y="22"/>
                  </a:cubicBezTo>
                  <a:lnTo>
                    <a:pt x="72" y="22"/>
                  </a:lnTo>
                  <a:close/>
                  <a:moveTo>
                    <a:pt x="40" y="22"/>
                  </a:moveTo>
                  <a:cubicBezTo>
                    <a:pt x="40" y="22"/>
                    <a:pt x="45" y="9"/>
                    <a:pt x="62" y="9"/>
                  </a:cubicBezTo>
                  <a:cubicBezTo>
                    <a:pt x="64" y="9"/>
                    <a:pt x="66" y="9"/>
                    <a:pt x="68" y="9"/>
                  </a:cubicBezTo>
                  <a:cubicBezTo>
                    <a:pt x="68" y="22"/>
                    <a:pt x="68" y="22"/>
                    <a:pt x="68" y="22"/>
                  </a:cubicBezTo>
                  <a:lnTo>
                    <a:pt x="4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4023">
              <a:extLst>
                <a:ext uri="{FF2B5EF4-FFF2-40B4-BE49-F238E27FC236}">
                  <a16:creationId xmlns:a16="http://schemas.microsoft.com/office/drawing/2014/main" id="{1E884A87-BFF6-4DD3-A986-FA7E9701B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626" y="3668713"/>
              <a:ext cx="176213" cy="107950"/>
            </a:xfrm>
            <a:custGeom>
              <a:avLst/>
              <a:gdLst>
                <a:gd name="T0" fmla="*/ 2 w 47"/>
                <a:gd name="T1" fmla="*/ 29 h 29"/>
                <a:gd name="T2" fmla="*/ 4 w 47"/>
                <a:gd name="T3" fmla="*/ 27 h 29"/>
                <a:gd name="T4" fmla="*/ 25 w 47"/>
                <a:gd name="T5" fmla="*/ 20 h 29"/>
                <a:gd name="T6" fmla="*/ 42 w 47"/>
                <a:gd name="T7" fmla="*/ 19 h 29"/>
                <a:gd name="T8" fmla="*/ 47 w 47"/>
                <a:gd name="T9" fmla="*/ 2 h 29"/>
                <a:gd name="T10" fmla="*/ 45 w 47"/>
                <a:gd name="T11" fmla="*/ 0 h 29"/>
                <a:gd name="T12" fmla="*/ 43 w 47"/>
                <a:gd name="T13" fmla="*/ 2 h 29"/>
                <a:gd name="T14" fmla="*/ 40 w 47"/>
                <a:gd name="T15" fmla="*/ 16 h 29"/>
                <a:gd name="T16" fmla="*/ 26 w 47"/>
                <a:gd name="T17" fmla="*/ 16 h 29"/>
                <a:gd name="T18" fmla="*/ 0 w 47"/>
                <a:gd name="T19" fmla="*/ 26 h 29"/>
                <a:gd name="T20" fmla="*/ 1 w 47"/>
                <a:gd name="T21" fmla="*/ 29 h 29"/>
                <a:gd name="T22" fmla="*/ 2 w 47"/>
                <a:gd name="T2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9">
                  <a:moveTo>
                    <a:pt x="2" y="29"/>
                  </a:moveTo>
                  <a:cubicBezTo>
                    <a:pt x="2" y="29"/>
                    <a:pt x="3" y="28"/>
                    <a:pt x="4" y="27"/>
                  </a:cubicBezTo>
                  <a:cubicBezTo>
                    <a:pt x="7" y="16"/>
                    <a:pt x="16" y="18"/>
                    <a:pt x="25" y="20"/>
                  </a:cubicBezTo>
                  <a:cubicBezTo>
                    <a:pt x="31" y="21"/>
                    <a:pt x="38" y="23"/>
                    <a:pt x="42" y="19"/>
                  </a:cubicBezTo>
                  <a:cubicBezTo>
                    <a:pt x="46" y="16"/>
                    <a:pt x="47" y="11"/>
                    <a:pt x="47" y="2"/>
                  </a:cubicBezTo>
                  <a:cubicBezTo>
                    <a:pt x="47" y="1"/>
                    <a:pt x="46" y="0"/>
                    <a:pt x="45" y="0"/>
                  </a:cubicBezTo>
                  <a:cubicBezTo>
                    <a:pt x="44" y="0"/>
                    <a:pt x="43" y="1"/>
                    <a:pt x="43" y="2"/>
                  </a:cubicBezTo>
                  <a:cubicBezTo>
                    <a:pt x="43" y="9"/>
                    <a:pt x="42" y="14"/>
                    <a:pt x="40" y="16"/>
                  </a:cubicBezTo>
                  <a:cubicBezTo>
                    <a:pt x="37" y="18"/>
                    <a:pt x="31" y="17"/>
                    <a:pt x="26" y="16"/>
                  </a:cubicBezTo>
                  <a:cubicBezTo>
                    <a:pt x="16" y="14"/>
                    <a:pt x="5" y="12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1" y="29"/>
                    <a:pt x="1" y="29"/>
                    <a:pt x="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4024">
              <a:extLst>
                <a:ext uri="{FF2B5EF4-FFF2-40B4-BE49-F238E27FC236}">
                  <a16:creationId xmlns:a16="http://schemas.microsoft.com/office/drawing/2014/main" id="{4F97A3BB-7B79-45CB-B2D5-1F19A4EA7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1" y="3556000"/>
              <a:ext cx="79375" cy="131762"/>
            </a:xfrm>
            <a:custGeom>
              <a:avLst/>
              <a:gdLst>
                <a:gd name="T0" fmla="*/ 5 w 21"/>
                <a:gd name="T1" fmla="*/ 2 h 35"/>
                <a:gd name="T2" fmla="*/ 6 w 21"/>
                <a:gd name="T3" fmla="*/ 10 h 35"/>
                <a:gd name="T4" fmla="*/ 9 w 21"/>
                <a:gd name="T5" fmla="*/ 10 h 35"/>
                <a:gd name="T6" fmla="*/ 11 w 21"/>
                <a:gd name="T7" fmla="*/ 10 h 35"/>
                <a:gd name="T8" fmla="*/ 15 w 21"/>
                <a:gd name="T9" fmla="*/ 9 h 35"/>
                <a:gd name="T10" fmla="*/ 15 w 21"/>
                <a:gd name="T11" fmla="*/ 1 h 35"/>
                <a:gd name="T12" fmla="*/ 16 w 21"/>
                <a:gd name="T13" fmla="*/ 0 h 35"/>
                <a:gd name="T14" fmla="*/ 17 w 21"/>
                <a:gd name="T15" fmla="*/ 1 h 35"/>
                <a:gd name="T16" fmla="*/ 18 w 21"/>
                <a:gd name="T17" fmla="*/ 9 h 35"/>
                <a:gd name="T18" fmla="*/ 21 w 21"/>
                <a:gd name="T19" fmla="*/ 9 h 35"/>
                <a:gd name="T20" fmla="*/ 21 w 21"/>
                <a:gd name="T21" fmla="*/ 17 h 35"/>
                <a:gd name="T22" fmla="*/ 16 w 21"/>
                <a:gd name="T23" fmla="*/ 24 h 35"/>
                <a:gd name="T24" fmla="*/ 15 w 21"/>
                <a:gd name="T25" fmla="*/ 33 h 35"/>
                <a:gd name="T26" fmla="*/ 10 w 21"/>
                <a:gd name="T27" fmla="*/ 34 h 35"/>
                <a:gd name="T28" fmla="*/ 6 w 21"/>
                <a:gd name="T29" fmla="*/ 24 h 35"/>
                <a:gd name="T30" fmla="*/ 1 w 21"/>
                <a:gd name="T31" fmla="*/ 18 h 35"/>
                <a:gd name="T32" fmla="*/ 0 w 21"/>
                <a:gd name="T33" fmla="*/ 10 h 35"/>
                <a:gd name="T34" fmla="*/ 3 w 21"/>
                <a:gd name="T35" fmla="*/ 10 h 35"/>
                <a:gd name="T36" fmla="*/ 2 w 21"/>
                <a:gd name="T37" fmla="*/ 2 h 35"/>
                <a:gd name="T38" fmla="*/ 4 w 21"/>
                <a:gd name="T39" fmla="*/ 1 h 35"/>
                <a:gd name="T40" fmla="*/ 5 w 21"/>
                <a:gd name="T41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35">
                  <a:moveTo>
                    <a:pt x="5" y="2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7" y="0"/>
                    <a:pt x="17" y="0"/>
                    <a:pt x="17" y="1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15"/>
                    <a:pt x="21" y="17"/>
                  </a:cubicBezTo>
                  <a:cubicBezTo>
                    <a:pt x="21" y="19"/>
                    <a:pt x="20" y="21"/>
                    <a:pt x="16" y="24"/>
                  </a:cubicBezTo>
                  <a:cubicBezTo>
                    <a:pt x="16" y="25"/>
                    <a:pt x="16" y="32"/>
                    <a:pt x="15" y="33"/>
                  </a:cubicBezTo>
                  <a:cubicBezTo>
                    <a:pt x="13" y="35"/>
                    <a:pt x="11" y="35"/>
                    <a:pt x="10" y="34"/>
                  </a:cubicBezTo>
                  <a:cubicBezTo>
                    <a:pt x="7" y="32"/>
                    <a:pt x="6" y="24"/>
                    <a:pt x="6" y="24"/>
                  </a:cubicBezTo>
                  <a:cubicBezTo>
                    <a:pt x="3" y="22"/>
                    <a:pt x="2" y="21"/>
                    <a:pt x="1" y="18"/>
                  </a:cubicBezTo>
                  <a:cubicBezTo>
                    <a:pt x="0" y="16"/>
                    <a:pt x="0" y="10"/>
                    <a:pt x="0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5" y="1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4025">
              <a:extLst>
                <a:ext uri="{FF2B5EF4-FFF2-40B4-BE49-F238E27FC236}">
                  <a16:creationId xmlns:a16="http://schemas.microsoft.com/office/drawing/2014/main" id="{2466720A-F371-4DAD-9818-2B83120EAB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0088" y="3781425"/>
              <a:ext cx="95250" cy="88900"/>
            </a:xfrm>
            <a:custGeom>
              <a:avLst/>
              <a:gdLst>
                <a:gd name="T0" fmla="*/ 0 w 25"/>
                <a:gd name="T1" fmla="*/ 12 h 24"/>
                <a:gd name="T2" fmla="*/ 12 w 25"/>
                <a:gd name="T3" fmla="*/ 24 h 24"/>
                <a:gd name="T4" fmla="*/ 25 w 25"/>
                <a:gd name="T5" fmla="*/ 12 h 24"/>
                <a:gd name="T6" fmla="*/ 12 w 25"/>
                <a:gd name="T7" fmla="*/ 0 h 24"/>
                <a:gd name="T8" fmla="*/ 0 w 25"/>
                <a:gd name="T9" fmla="*/ 12 h 24"/>
                <a:gd name="T10" fmla="*/ 9 w 25"/>
                <a:gd name="T11" fmla="*/ 12 h 24"/>
                <a:gd name="T12" fmla="*/ 12 w 25"/>
                <a:gd name="T13" fmla="*/ 9 h 24"/>
                <a:gd name="T14" fmla="*/ 16 w 25"/>
                <a:gd name="T15" fmla="*/ 12 h 24"/>
                <a:gd name="T16" fmla="*/ 12 w 25"/>
                <a:gd name="T17" fmla="*/ 16 h 24"/>
                <a:gd name="T18" fmla="*/ 9 w 25"/>
                <a:gd name="T1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cubicBezTo>
                    <a:pt x="0" y="19"/>
                    <a:pt x="6" y="24"/>
                    <a:pt x="12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lose/>
                  <a:moveTo>
                    <a:pt x="9" y="12"/>
                  </a:moveTo>
                  <a:cubicBezTo>
                    <a:pt x="9" y="10"/>
                    <a:pt x="10" y="9"/>
                    <a:pt x="12" y="9"/>
                  </a:cubicBezTo>
                  <a:cubicBezTo>
                    <a:pt x="14" y="9"/>
                    <a:pt x="16" y="10"/>
                    <a:pt x="16" y="12"/>
                  </a:cubicBezTo>
                  <a:cubicBezTo>
                    <a:pt x="16" y="14"/>
                    <a:pt x="14" y="16"/>
                    <a:pt x="12" y="16"/>
                  </a:cubicBezTo>
                  <a:cubicBezTo>
                    <a:pt x="10" y="16"/>
                    <a:pt x="9" y="14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47FF7C2D-0CB2-41C1-83CA-031AD3D17EF2}"/>
              </a:ext>
            </a:extLst>
          </p:cNvPr>
          <p:cNvGrpSpPr/>
          <p:nvPr/>
        </p:nvGrpSpPr>
        <p:grpSpPr>
          <a:xfrm>
            <a:off x="8699783" y="4594584"/>
            <a:ext cx="974377" cy="567681"/>
            <a:chOff x="6983413" y="2925763"/>
            <a:chExt cx="547688" cy="319088"/>
          </a:xfrm>
          <a:solidFill>
            <a:schemeClr val="bg1"/>
          </a:solidFill>
        </p:grpSpPr>
        <p:sp>
          <p:nvSpPr>
            <p:cNvPr id="19" name="Freeform 3843">
              <a:extLst>
                <a:ext uri="{FF2B5EF4-FFF2-40B4-BE49-F238E27FC236}">
                  <a16:creationId xmlns:a16="http://schemas.microsoft.com/office/drawing/2014/main" id="{8C00C30F-11CB-4FCC-8FDE-36E4E3635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626" y="2959101"/>
              <a:ext cx="104775" cy="150813"/>
            </a:xfrm>
            <a:custGeom>
              <a:avLst/>
              <a:gdLst>
                <a:gd name="T0" fmla="*/ 4 w 28"/>
                <a:gd name="T1" fmla="*/ 40 h 40"/>
                <a:gd name="T2" fmla="*/ 2 w 28"/>
                <a:gd name="T3" fmla="*/ 40 h 40"/>
                <a:gd name="T4" fmla="*/ 1 w 28"/>
                <a:gd name="T5" fmla="*/ 35 h 40"/>
                <a:gd name="T6" fmla="*/ 21 w 28"/>
                <a:gd name="T7" fmla="*/ 2 h 40"/>
                <a:gd name="T8" fmla="*/ 26 w 28"/>
                <a:gd name="T9" fmla="*/ 1 h 40"/>
                <a:gd name="T10" fmla="*/ 27 w 28"/>
                <a:gd name="T11" fmla="*/ 5 h 40"/>
                <a:gd name="T12" fmla="*/ 7 w 28"/>
                <a:gd name="T13" fmla="*/ 39 h 40"/>
                <a:gd name="T14" fmla="*/ 4 w 28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0">
                  <a:moveTo>
                    <a:pt x="4" y="40"/>
                  </a:moveTo>
                  <a:cubicBezTo>
                    <a:pt x="4" y="40"/>
                    <a:pt x="3" y="40"/>
                    <a:pt x="2" y="40"/>
                  </a:cubicBezTo>
                  <a:cubicBezTo>
                    <a:pt x="1" y="39"/>
                    <a:pt x="0" y="37"/>
                    <a:pt x="1" y="3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0"/>
                    <a:pt x="24" y="0"/>
                    <a:pt x="26" y="1"/>
                  </a:cubicBezTo>
                  <a:cubicBezTo>
                    <a:pt x="28" y="2"/>
                    <a:pt x="28" y="4"/>
                    <a:pt x="27" y="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6" y="40"/>
                    <a:pt x="5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3844">
              <a:extLst>
                <a:ext uri="{FF2B5EF4-FFF2-40B4-BE49-F238E27FC236}">
                  <a16:creationId xmlns:a16="http://schemas.microsoft.com/office/drawing/2014/main" id="{540C04EC-8B48-466D-BCF6-A36FF214A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6788" y="2952751"/>
              <a:ext cx="109538" cy="25400"/>
            </a:xfrm>
            <a:custGeom>
              <a:avLst/>
              <a:gdLst>
                <a:gd name="T0" fmla="*/ 26 w 29"/>
                <a:gd name="T1" fmla="*/ 7 h 7"/>
                <a:gd name="T2" fmla="*/ 4 w 29"/>
                <a:gd name="T3" fmla="*/ 7 h 7"/>
                <a:gd name="T4" fmla="*/ 0 w 29"/>
                <a:gd name="T5" fmla="*/ 4 h 7"/>
                <a:gd name="T6" fmla="*/ 4 w 29"/>
                <a:gd name="T7" fmla="*/ 0 h 7"/>
                <a:gd name="T8" fmla="*/ 26 w 29"/>
                <a:gd name="T9" fmla="*/ 0 h 7"/>
                <a:gd name="T10" fmla="*/ 29 w 29"/>
                <a:gd name="T11" fmla="*/ 4 h 7"/>
                <a:gd name="T12" fmla="*/ 26 w 2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7">
                  <a:moveTo>
                    <a:pt x="2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29" y="2"/>
                    <a:pt x="29" y="4"/>
                  </a:cubicBezTo>
                  <a:cubicBezTo>
                    <a:pt x="29" y="5"/>
                    <a:pt x="28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3845">
              <a:extLst>
                <a:ext uri="{FF2B5EF4-FFF2-40B4-BE49-F238E27FC236}">
                  <a16:creationId xmlns:a16="http://schemas.microsoft.com/office/drawing/2014/main" id="{EFD972EF-6CF2-4C72-B577-FAB52E618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9463" y="2925763"/>
              <a:ext cx="101600" cy="90488"/>
            </a:xfrm>
            <a:custGeom>
              <a:avLst/>
              <a:gdLst>
                <a:gd name="T0" fmla="*/ 10 w 27"/>
                <a:gd name="T1" fmla="*/ 24 h 24"/>
                <a:gd name="T2" fmla="*/ 7 w 27"/>
                <a:gd name="T3" fmla="*/ 22 h 24"/>
                <a:gd name="T4" fmla="*/ 1 w 27"/>
                <a:gd name="T5" fmla="*/ 9 h 24"/>
                <a:gd name="T6" fmla="*/ 1 w 27"/>
                <a:gd name="T7" fmla="*/ 6 h 24"/>
                <a:gd name="T8" fmla="*/ 3 w 27"/>
                <a:gd name="T9" fmla="*/ 4 h 24"/>
                <a:gd name="T10" fmla="*/ 22 w 27"/>
                <a:gd name="T11" fmla="*/ 1 h 24"/>
                <a:gd name="T12" fmla="*/ 26 w 27"/>
                <a:gd name="T13" fmla="*/ 3 h 24"/>
                <a:gd name="T14" fmla="*/ 24 w 27"/>
                <a:gd name="T15" fmla="*/ 7 h 24"/>
                <a:gd name="T16" fmla="*/ 9 w 27"/>
                <a:gd name="T17" fmla="*/ 10 h 24"/>
                <a:gd name="T18" fmla="*/ 13 w 27"/>
                <a:gd name="T19" fmla="*/ 19 h 24"/>
                <a:gd name="T20" fmla="*/ 11 w 27"/>
                <a:gd name="T21" fmla="*/ 23 h 24"/>
                <a:gd name="T22" fmla="*/ 10 w 27"/>
                <a:gd name="T2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24">
                  <a:moveTo>
                    <a:pt x="10" y="24"/>
                  </a:moveTo>
                  <a:cubicBezTo>
                    <a:pt x="8" y="24"/>
                    <a:pt x="7" y="23"/>
                    <a:pt x="7" y="2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" y="5"/>
                    <a:pt x="2" y="5"/>
                    <a:pt x="3" y="4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7" y="5"/>
                    <a:pt x="26" y="7"/>
                    <a:pt x="24" y="7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2"/>
                    <a:pt x="11" y="23"/>
                  </a:cubicBezTo>
                  <a:cubicBezTo>
                    <a:pt x="11" y="23"/>
                    <a:pt x="10" y="24"/>
                    <a:pt x="1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3846">
              <a:extLst>
                <a:ext uri="{FF2B5EF4-FFF2-40B4-BE49-F238E27FC236}">
                  <a16:creationId xmlns:a16="http://schemas.microsoft.com/office/drawing/2014/main" id="{329F3323-8B7C-4883-8BDF-731293D97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013" y="3052763"/>
              <a:ext cx="192088" cy="192088"/>
            </a:xfrm>
            <a:custGeom>
              <a:avLst/>
              <a:gdLst>
                <a:gd name="T0" fmla="*/ 26 w 51"/>
                <a:gd name="T1" fmla="*/ 51 h 51"/>
                <a:gd name="T2" fmla="*/ 0 w 51"/>
                <a:gd name="T3" fmla="*/ 26 h 51"/>
                <a:gd name="T4" fmla="*/ 26 w 51"/>
                <a:gd name="T5" fmla="*/ 0 h 51"/>
                <a:gd name="T6" fmla="*/ 51 w 51"/>
                <a:gd name="T7" fmla="*/ 26 h 51"/>
                <a:gd name="T8" fmla="*/ 26 w 51"/>
                <a:gd name="T9" fmla="*/ 51 h 51"/>
                <a:gd name="T10" fmla="*/ 26 w 51"/>
                <a:gd name="T11" fmla="*/ 7 h 51"/>
                <a:gd name="T12" fmla="*/ 7 w 51"/>
                <a:gd name="T13" fmla="*/ 26 h 51"/>
                <a:gd name="T14" fmla="*/ 26 w 51"/>
                <a:gd name="T15" fmla="*/ 44 h 51"/>
                <a:gd name="T16" fmla="*/ 44 w 51"/>
                <a:gd name="T17" fmla="*/ 26 h 51"/>
                <a:gd name="T18" fmla="*/ 26 w 51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12" y="51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1" y="12"/>
                    <a:pt x="51" y="26"/>
                  </a:cubicBezTo>
                  <a:cubicBezTo>
                    <a:pt x="51" y="40"/>
                    <a:pt x="40" y="51"/>
                    <a:pt x="26" y="51"/>
                  </a:cubicBezTo>
                  <a:close/>
                  <a:moveTo>
                    <a:pt x="26" y="7"/>
                  </a:moveTo>
                  <a:cubicBezTo>
                    <a:pt x="15" y="7"/>
                    <a:pt x="7" y="15"/>
                    <a:pt x="7" y="26"/>
                  </a:cubicBezTo>
                  <a:cubicBezTo>
                    <a:pt x="7" y="36"/>
                    <a:pt x="15" y="44"/>
                    <a:pt x="26" y="44"/>
                  </a:cubicBezTo>
                  <a:cubicBezTo>
                    <a:pt x="36" y="44"/>
                    <a:pt x="44" y="36"/>
                    <a:pt x="44" y="26"/>
                  </a:cubicBezTo>
                  <a:cubicBezTo>
                    <a:pt x="44" y="15"/>
                    <a:pt x="36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3847">
              <a:extLst>
                <a:ext uri="{FF2B5EF4-FFF2-40B4-BE49-F238E27FC236}">
                  <a16:creationId xmlns:a16="http://schemas.microsoft.com/office/drawing/2014/main" id="{59FECE9E-1A91-456F-968B-602B3AADD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3413" y="3052763"/>
              <a:ext cx="190500" cy="192088"/>
            </a:xfrm>
            <a:custGeom>
              <a:avLst/>
              <a:gdLst>
                <a:gd name="T0" fmla="*/ 26 w 51"/>
                <a:gd name="T1" fmla="*/ 51 h 51"/>
                <a:gd name="T2" fmla="*/ 0 w 51"/>
                <a:gd name="T3" fmla="*/ 26 h 51"/>
                <a:gd name="T4" fmla="*/ 26 w 51"/>
                <a:gd name="T5" fmla="*/ 0 h 51"/>
                <a:gd name="T6" fmla="*/ 51 w 51"/>
                <a:gd name="T7" fmla="*/ 26 h 51"/>
                <a:gd name="T8" fmla="*/ 26 w 51"/>
                <a:gd name="T9" fmla="*/ 51 h 51"/>
                <a:gd name="T10" fmla="*/ 26 w 51"/>
                <a:gd name="T11" fmla="*/ 7 h 51"/>
                <a:gd name="T12" fmla="*/ 7 w 51"/>
                <a:gd name="T13" fmla="*/ 26 h 51"/>
                <a:gd name="T14" fmla="*/ 26 w 51"/>
                <a:gd name="T15" fmla="*/ 44 h 51"/>
                <a:gd name="T16" fmla="*/ 44 w 51"/>
                <a:gd name="T17" fmla="*/ 26 h 51"/>
                <a:gd name="T18" fmla="*/ 26 w 51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12" y="51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1" y="12"/>
                    <a:pt x="51" y="26"/>
                  </a:cubicBezTo>
                  <a:cubicBezTo>
                    <a:pt x="51" y="40"/>
                    <a:pt x="40" y="51"/>
                    <a:pt x="26" y="51"/>
                  </a:cubicBezTo>
                  <a:close/>
                  <a:moveTo>
                    <a:pt x="26" y="7"/>
                  </a:moveTo>
                  <a:cubicBezTo>
                    <a:pt x="15" y="7"/>
                    <a:pt x="7" y="15"/>
                    <a:pt x="7" y="26"/>
                  </a:cubicBezTo>
                  <a:cubicBezTo>
                    <a:pt x="7" y="36"/>
                    <a:pt x="15" y="44"/>
                    <a:pt x="26" y="44"/>
                  </a:cubicBezTo>
                  <a:cubicBezTo>
                    <a:pt x="36" y="44"/>
                    <a:pt x="44" y="36"/>
                    <a:pt x="44" y="26"/>
                  </a:cubicBezTo>
                  <a:cubicBezTo>
                    <a:pt x="44" y="15"/>
                    <a:pt x="36" y="7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3848">
              <a:extLst>
                <a:ext uri="{FF2B5EF4-FFF2-40B4-BE49-F238E27FC236}">
                  <a16:creationId xmlns:a16="http://schemas.microsoft.com/office/drawing/2014/main" id="{7EDD17C4-55F0-4ACE-8FCD-3BC47EB8A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5963" y="2989263"/>
              <a:ext cx="385763" cy="176213"/>
            </a:xfrm>
            <a:custGeom>
              <a:avLst/>
              <a:gdLst>
                <a:gd name="T0" fmla="*/ 4 w 103"/>
                <a:gd name="T1" fmla="*/ 47 h 47"/>
                <a:gd name="T2" fmla="*/ 2 w 103"/>
                <a:gd name="T3" fmla="*/ 46 h 47"/>
                <a:gd name="T4" fmla="*/ 1 w 103"/>
                <a:gd name="T5" fmla="*/ 42 h 47"/>
                <a:gd name="T6" fmla="*/ 24 w 103"/>
                <a:gd name="T7" fmla="*/ 2 h 47"/>
                <a:gd name="T8" fmla="*/ 27 w 103"/>
                <a:gd name="T9" fmla="*/ 0 h 47"/>
                <a:gd name="T10" fmla="*/ 80 w 103"/>
                <a:gd name="T11" fmla="*/ 0 h 47"/>
                <a:gd name="T12" fmla="*/ 83 w 103"/>
                <a:gd name="T13" fmla="*/ 2 h 47"/>
                <a:gd name="T14" fmla="*/ 103 w 103"/>
                <a:gd name="T15" fmla="*/ 42 h 47"/>
                <a:gd name="T16" fmla="*/ 102 w 103"/>
                <a:gd name="T17" fmla="*/ 45 h 47"/>
                <a:gd name="T18" fmla="*/ 100 w 103"/>
                <a:gd name="T19" fmla="*/ 47 h 47"/>
                <a:gd name="T20" fmla="*/ 67 w 103"/>
                <a:gd name="T21" fmla="*/ 47 h 47"/>
                <a:gd name="T22" fmla="*/ 64 w 103"/>
                <a:gd name="T23" fmla="*/ 44 h 47"/>
                <a:gd name="T24" fmla="*/ 67 w 103"/>
                <a:gd name="T25" fmla="*/ 40 h 47"/>
                <a:gd name="T26" fmla="*/ 94 w 103"/>
                <a:gd name="T27" fmla="*/ 40 h 47"/>
                <a:gd name="T28" fmla="*/ 78 w 103"/>
                <a:gd name="T29" fmla="*/ 7 h 47"/>
                <a:gd name="T30" fmla="*/ 29 w 103"/>
                <a:gd name="T31" fmla="*/ 7 h 47"/>
                <a:gd name="T32" fmla="*/ 7 w 103"/>
                <a:gd name="T33" fmla="*/ 45 h 47"/>
                <a:gd name="T34" fmla="*/ 4 w 103"/>
                <a:gd name="T3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47">
                  <a:moveTo>
                    <a:pt x="4" y="47"/>
                  </a:moveTo>
                  <a:cubicBezTo>
                    <a:pt x="3" y="47"/>
                    <a:pt x="2" y="47"/>
                    <a:pt x="2" y="46"/>
                  </a:cubicBezTo>
                  <a:cubicBezTo>
                    <a:pt x="0" y="45"/>
                    <a:pt x="0" y="43"/>
                    <a:pt x="1" y="4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0"/>
                    <a:pt x="25" y="0"/>
                    <a:pt x="2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3" y="1"/>
                    <a:pt x="83" y="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3"/>
                    <a:pt x="103" y="44"/>
                    <a:pt x="102" y="45"/>
                  </a:cubicBezTo>
                  <a:cubicBezTo>
                    <a:pt x="102" y="46"/>
                    <a:pt x="101" y="47"/>
                    <a:pt x="100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5" y="47"/>
                    <a:pt x="64" y="45"/>
                    <a:pt x="64" y="44"/>
                  </a:cubicBezTo>
                  <a:cubicBezTo>
                    <a:pt x="64" y="42"/>
                    <a:pt x="65" y="40"/>
                    <a:pt x="67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6" y="46"/>
                    <a:pt x="5" y="47"/>
                    <a:pt x="4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3849">
              <a:extLst>
                <a:ext uri="{FF2B5EF4-FFF2-40B4-BE49-F238E27FC236}">
                  <a16:creationId xmlns:a16="http://schemas.microsoft.com/office/drawing/2014/main" id="{32A64226-1306-4D8F-BEDC-B6660754D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38476"/>
              <a:ext cx="112713" cy="90488"/>
            </a:xfrm>
            <a:custGeom>
              <a:avLst/>
              <a:gdLst>
                <a:gd name="T0" fmla="*/ 26 w 30"/>
                <a:gd name="T1" fmla="*/ 24 h 24"/>
                <a:gd name="T2" fmla="*/ 24 w 30"/>
                <a:gd name="T3" fmla="*/ 23 h 24"/>
                <a:gd name="T4" fmla="*/ 2 w 30"/>
                <a:gd name="T5" fmla="*/ 6 h 24"/>
                <a:gd name="T6" fmla="*/ 1 w 30"/>
                <a:gd name="T7" fmla="*/ 2 h 24"/>
                <a:gd name="T8" fmla="*/ 6 w 30"/>
                <a:gd name="T9" fmla="*/ 1 h 24"/>
                <a:gd name="T10" fmla="*/ 28 w 30"/>
                <a:gd name="T11" fmla="*/ 18 h 24"/>
                <a:gd name="T12" fmla="*/ 29 w 30"/>
                <a:gd name="T13" fmla="*/ 23 h 24"/>
                <a:gd name="T14" fmla="*/ 26 w 30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4">
                  <a:moveTo>
                    <a:pt x="26" y="24"/>
                  </a:moveTo>
                  <a:cubicBezTo>
                    <a:pt x="25" y="24"/>
                    <a:pt x="25" y="24"/>
                    <a:pt x="24" y="2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30" y="19"/>
                    <a:pt x="30" y="21"/>
                    <a:pt x="29" y="23"/>
                  </a:cubicBezTo>
                  <a:cubicBezTo>
                    <a:pt x="28" y="24"/>
                    <a:pt x="27" y="24"/>
                    <a:pt x="2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3850">
              <a:extLst>
                <a:ext uri="{FF2B5EF4-FFF2-40B4-BE49-F238E27FC236}">
                  <a16:creationId xmlns:a16="http://schemas.microsoft.com/office/drawing/2014/main" id="{8331D81B-8D92-436B-B737-C67FB2EBFF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9951" y="3082926"/>
              <a:ext cx="104775" cy="109538"/>
            </a:xfrm>
            <a:custGeom>
              <a:avLst/>
              <a:gdLst>
                <a:gd name="T0" fmla="*/ 14 w 28"/>
                <a:gd name="T1" fmla="*/ 29 h 29"/>
                <a:gd name="T2" fmla="*/ 0 w 28"/>
                <a:gd name="T3" fmla="*/ 14 h 29"/>
                <a:gd name="T4" fmla="*/ 14 w 28"/>
                <a:gd name="T5" fmla="*/ 0 h 29"/>
                <a:gd name="T6" fmla="*/ 28 w 28"/>
                <a:gd name="T7" fmla="*/ 14 h 29"/>
                <a:gd name="T8" fmla="*/ 14 w 28"/>
                <a:gd name="T9" fmla="*/ 29 h 29"/>
                <a:gd name="T10" fmla="*/ 14 w 28"/>
                <a:gd name="T11" fmla="*/ 7 h 29"/>
                <a:gd name="T12" fmla="*/ 6 w 28"/>
                <a:gd name="T13" fmla="*/ 14 h 29"/>
                <a:gd name="T14" fmla="*/ 14 w 28"/>
                <a:gd name="T15" fmla="*/ 22 h 29"/>
                <a:gd name="T16" fmla="*/ 22 w 28"/>
                <a:gd name="T17" fmla="*/ 14 h 29"/>
                <a:gd name="T18" fmla="*/ 14 w 28"/>
                <a:gd name="T1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9">
                  <a:moveTo>
                    <a:pt x="14" y="29"/>
                  </a:moveTo>
                  <a:cubicBezTo>
                    <a:pt x="6" y="29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9"/>
                    <a:pt x="14" y="29"/>
                  </a:cubicBezTo>
                  <a:close/>
                  <a:moveTo>
                    <a:pt x="14" y="7"/>
                  </a:moveTo>
                  <a:cubicBezTo>
                    <a:pt x="10" y="7"/>
                    <a:pt x="6" y="10"/>
                    <a:pt x="6" y="14"/>
                  </a:cubicBezTo>
                  <a:cubicBezTo>
                    <a:pt x="6" y="18"/>
                    <a:pt x="10" y="22"/>
                    <a:pt x="14" y="22"/>
                  </a:cubicBezTo>
                  <a:cubicBezTo>
                    <a:pt x="18" y="22"/>
                    <a:pt x="22" y="18"/>
                    <a:pt x="22" y="14"/>
                  </a:cubicBezTo>
                  <a:cubicBezTo>
                    <a:pt x="22" y="10"/>
                    <a:pt x="18" y="7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AE42F11B-543C-4E77-8FFC-8DD394595A55}"/>
              </a:ext>
            </a:extLst>
          </p:cNvPr>
          <p:cNvGrpSpPr/>
          <p:nvPr/>
        </p:nvGrpSpPr>
        <p:grpSpPr>
          <a:xfrm>
            <a:off x="7357415" y="2577207"/>
            <a:ext cx="1097231" cy="651627"/>
            <a:chOff x="5184776" y="5205413"/>
            <a:chExt cx="2232025" cy="1325562"/>
          </a:xfrm>
          <a:solidFill>
            <a:schemeClr val="bg1"/>
          </a:solidFill>
        </p:grpSpPr>
        <p:sp>
          <p:nvSpPr>
            <p:cNvPr id="28" name="Oval 3798">
              <a:extLst>
                <a:ext uri="{FF2B5EF4-FFF2-40B4-BE49-F238E27FC236}">
                  <a16:creationId xmlns:a16="http://schemas.microsoft.com/office/drawing/2014/main" id="{30EDAADE-EDE2-45E1-9997-5198CF987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9713" y="5729288"/>
              <a:ext cx="288925" cy="2936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Oval 3799">
              <a:extLst>
                <a:ext uri="{FF2B5EF4-FFF2-40B4-BE49-F238E27FC236}">
                  <a16:creationId xmlns:a16="http://schemas.microsoft.com/office/drawing/2014/main" id="{3EBA4D3A-DD41-44E9-B515-FAD95012A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6" y="5729288"/>
              <a:ext cx="295275" cy="296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3800">
              <a:extLst>
                <a:ext uri="{FF2B5EF4-FFF2-40B4-BE49-F238E27FC236}">
                  <a16:creationId xmlns:a16="http://schemas.microsoft.com/office/drawing/2014/main" id="{2DD01F79-A3F6-4E06-A775-900D152DA4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4776" y="5205413"/>
              <a:ext cx="1727200" cy="647700"/>
            </a:xfrm>
            <a:custGeom>
              <a:avLst/>
              <a:gdLst>
                <a:gd name="T0" fmla="*/ 492 w 543"/>
                <a:gd name="T1" fmla="*/ 82 h 204"/>
                <a:gd name="T2" fmla="*/ 410 w 543"/>
                <a:gd name="T3" fmla="*/ 29 h 204"/>
                <a:gd name="T4" fmla="*/ 225 w 543"/>
                <a:gd name="T5" fmla="*/ 15 h 204"/>
                <a:gd name="T6" fmla="*/ 128 w 543"/>
                <a:gd name="T7" fmla="*/ 82 h 204"/>
                <a:gd name="T8" fmla="*/ 68 w 543"/>
                <a:gd name="T9" fmla="*/ 103 h 204"/>
                <a:gd name="T10" fmla="*/ 6 w 543"/>
                <a:gd name="T11" fmla="*/ 146 h 204"/>
                <a:gd name="T12" fmla="*/ 1 w 543"/>
                <a:gd name="T13" fmla="*/ 204 h 204"/>
                <a:gd name="T14" fmla="*/ 35 w 543"/>
                <a:gd name="T15" fmla="*/ 204 h 204"/>
                <a:gd name="T16" fmla="*/ 88 w 543"/>
                <a:gd name="T17" fmla="*/ 153 h 204"/>
                <a:gd name="T18" fmla="*/ 140 w 543"/>
                <a:gd name="T19" fmla="*/ 204 h 204"/>
                <a:gd name="T20" fmla="*/ 399 w 543"/>
                <a:gd name="T21" fmla="*/ 204 h 204"/>
                <a:gd name="T22" fmla="*/ 451 w 543"/>
                <a:gd name="T23" fmla="*/ 153 h 204"/>
                <a:gd name="T24" fmla="*/ 503 w 543"/>
                <a:gd name="T25" fmla="*/ 204 h 204"/>
                <a:gd name="T26" fmla="*/ 536 w 543"/>
                <a:gd name="T27" fmla="*/ 204 h 204"/>
                <a:gd name="T28" fmla="*/ 542 w 543"/>
                <a:gd name="T29" fmla="*/ 125 h 204"/>
                <a:gd name="T30" fmla="*/ 492 w 543"/>
                <a:gd name="T31" fmla="*/ 82 h 204"/>
                <a:gd name="T32" fmla="*/ 228 w 543"/>
                <a:gd name="T33" fmla="*/ 26 h 204"/>
                <a:gd name="T34" fmla="*/ 279 w 543"/>
                <a:gd name="T35" fmla="*/ 19 h 204"/>
                <a:gd name="T36" fmla="*/ 279 w 543"/>
                <a:gd name="T37" fmla="*/ 77 h 204"/>
                <a:gd name="T38" fmla="*/ 151 w 543"/>
                <a:gd name="T39" fmla="*/ 77 h 204"/>
                <a:gd name="T40" fmla="*/ 228 w 543"/>
                <a:gd name="T41" fmla="*/ 26 h 204"/>
                <a:gd name="T42" fmla="*/ 412 w 543"/>
                <a:gd name="T43" fmla="*/ 77 h 204"/>
                <a:gd name="T44" fmla="*/ 287 w 543"/>
                <a:gd name="T45" fmla="*/ 77 h 204"/>
                <a:gd name="T46" fmla="*/ 287 w 543"/>
                <a:gd name="T47" fmla="*/ 19 h 204"/>
                <a:gd name="T48" fmla="*/ 408 w 543"/>
                <a:gd name="T49" fmla="*/ 40 h 204"/>
                <a:gd name="T50" fmla="*/ 412 w 543"/>
                <a:gd name="T51" fmla="*/ 7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3" h="204">
                  <a:moveTo>
                    <a:pt x="492" y="82"/>
                  </a:moveTo>
                  <a:cubicBezTo>
                    <a:pt x="492" y="82"/>
                    <a:pt x="435" y="41"/>
                    <a:pt x="410" y="29"/>
                  </a:cubicBezTo>
                  <a:cubicBezTo>
                    <a:pt x="368" y="10"/>
                    <a:pt x="268" y="0"/>
                    <a:pt x="225" y="15"/>
                  </a:cubicBezTo>
                  <a:cubicBezTo>
                    <a:pt x="196" y="25"/>
                    <a:pt x="128" y="82"/>
                    <a:pt x="128" y="82"/>
                  </a:cubicBezTo>
                  <a:cubicBezTo>
                    <a:pt x="128" y="82"/>
                    <a:pt x="84" y="96"/>
                    <a:pt x="68" y="103"/>
                  </a:cubicBezTo>
                  <a:cubicBezTo>
                    <a:pt x="41" y="115"/>
                    <a:pt x="18" y="117"/>
                    <a:pt x="6" y="146"/>
                  </a:cubicBezTo>
                  <a:cubicBezTo>
                    <a:pt x="0" y="159"/>
                    <a:pt x="1" y="204"/>
                    <a:pt x="1" y="204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5" y="176"/>
                    <a:pt x="59" y="153"/>
                    <a:pt x="88" y="153"/>
                  </a:cubicBezTo>
                  <a:cubicBezTo>
                    <a:pt x="116" y="153"/>
                    <a:pt x="140" y="176"/>
                    <a:pt x="140" y="204"/>
                  </a:cubicBezTo>
                  <a:cubicBezTo>
                    <a:pt x="399" y="204"/>
                    <a:pt x="399" y="204"/>
                    <a:pt x="399" y="204"/>
                  </a:cubicBezTo>
                  <a:cubicBezTo>
                    <a:pt x="399" y="176"/>
                    <a:pt x="422" y="153"/>
                    <a:pt x="451" y="153"/>
                  </a:cubicBezTo>
                  <a:cubicBezTo>
                    <a:pt x="480" y="153"/>
                    <a:pt x="503" y="176"/>
                    <a:pt x="503" y="204"/>
                  </a:cubicBezTo>
                  <a:cubicBezTo>
                    <a:pt x="536" y="204"/>
                    <a:pt x="536" y="204"/>
                    <a:pt x="536" y="204"/>
                  </a:cubicBezTo>
                  <a:cubicBezTo>
                    <a:pt x="536" y="204"/>
                    <a:pt x="541" y="140"/>
                    <a:pt x="542" y="125"/>
                  </a:cubicBezTo>
                  <a:cubicBezTo>
                    <a:pt x="543" y="101"/>
                    <a:pt x="522" y="87"/>
                    <a:pt x="492" y="82"/>
                  </a:cubicBezTo>
                  <a:close/>
                  <a:moveTo>
                    <a:pt x="228" y="26"/>
                  </a:moveTo>
                  <a:cubicBezTo>
                    <a:pt x="240" y="22"/>
                    <a:pt x="258" y="19"/>
                    <a:pt x="279" y="19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151" y="77"/>
                    <a:pt x="151" y="77"/>
                    <a:pt x="151" y="77"/>
                  </a:cubicBezTo>
                  <a:cubicBezTo>
                    <a:pt x="179" y="55"/>
                    <a:pt x="212" y="31"/>
                    <a:pt x="228" y="26"/>
                  </a:cubicBezTo>
                  <a:close/>
                  <a:moveTo>
                    <a:pt x="412" y="77"/>
                  </a:moveTo>
                  <a:cubicBezTo>
                    <a:pt x="287" y="77"/>
                    <a:pt x="287" y="77"/>
                    <a:pt x="287" y="77"/>
                  </a:cubicBezTo>
                  <a:cubicBezTo>
                    <a:pt x="287" y="19"/>
                    <a:pt x="287" y="19"/>
                    <a:pt x="287" y="19"/>
                  </a:cubicBezTo>
                  <a:cubicBezTo>
                    <a:pt x="332" y="19"/>
                    <a:pt x="382" y="28"/>
                    <a:pt x="408" y="40"/>
                  </a:cubicBezTo>
                  <a:cubicBezTo>
                    <a:pt x="414" y="43"/>
                    <a:pt x="412" y="77"/>
                    <a:pt x="41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3801">
              <a:extLst>
                <a:ext uri="{FF2B5EF4-FFF2-40B4-BE49-F238E27FC236}">
                  <a16:creationId xmlns:a16="http://schemas.microsoft.com/office/drawing/2014/main" id="{84ABDF06-3124-4BE2-8B87-7BB857FCB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463" y="6292850"/>
              <a:ext cx="209550" cy="136525"/>
            </a:xfrm>
            <a:custGeom>
              <a:avLst/>
              <a:gdLst>
                <a:gd name="T0" fmla="*/ 66 w 66"/>
                <a:gd name="T1" fmla="*/ 35 h 43"/>
                <a:gd name="T2" fmla="*/ 58 w 66"/>
                <a:gd name="T3" fmla="*/ 43 h 43"/>
                <a:gd name="T4" fmla="*/ 8 w 66"/>
                <a:gd name="T5" fmla="*/ 43 h 43"/>
                <a:gd name="T6" fmla="*/ 0 w 66"/>
                <a:gd name="T7" fmla="*/ 35 h 43"/>
                <a:gd name="T8" fmla="*/ 0 w 66"/>
                <a:gd name="T9" fmla="*/ 8 h 43"/>
                <a:gd name="T10" fmla="*/ 8 w 66"/>
                <a:gd name="T11" fmla="*/ 0 h 43"/>
                <a:gd name="T12" fmla="*/ 58 w 66"/>
                <a:gd name="T13" fmla="*/ 0 h 43"/>
                <a:gd name="T14" fmla="*/ 66 w 66"/>
                <a:gd name="T15" fmla="*/ 8 h 43"/>
                <a:gd name="T16" fmla="*/ 66 w 66"/>
                <a:gd name="T1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43">
                  <a:moveTo>
                    <a:pt x="66" y="35"/>
                  </a:moveTo>
                  <a:cubicBezTo>
                    <a:pt x="66" y="40"/>
                    <a:pt x="63" y="43"/>
                    <a:pt x="5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4" y="43"/>
                    <a:pt x="0" y="40"/>
                    <a:pt x="0" y="3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3" y="0"/>
                    <a:pt x="66" y="4"/>
                    <a:pt x="66" y="8"/>
                  </a:cubicBezTo>
                  <a:lnTo>
                    <a:pt x="6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3802">
              <a:extLst>
                <a:ext uri="{FF2B5EF4-FFF2-40B4-BE49-F238E27FC236}">
                  <a16:creationId xmlns:a16="http://schemas.microsoft.com/office/drawing/2014/main" id="{8DB65CEB-BBFC-445B-9A87-E1CCDC75C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2963" y="6194425"/>
              <a:ext cx="165100" cy="336550"/>
            </a:xfrm>
            <a:custGeom>
              <a:avLst/>
              <a:gdLst>
                <a:gd name="T0" fmla="*/ 0 w 52"/>
                <a:gd name="T1" fmla="*/ 0 h 106"/>
                <a:gd name="T2" fmla="*/ 0 w 52"/>
                <a:gd name="T3" fmla="*/ 106 h 106"/>
                <a:gd name="T4" fmla="*/ 52 w 52"/>
                <a:gd name="T5" fmla="*/ 53 h 106"/>
                <a:gd name="T6" fmla="*/ 0 w 52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106">
                  <a:moveTo>
                    <a:pt x="0" y="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29" y="105"/>
                    <a:pt x="52" y="82"/>
                    <a:pt x="52" y="53"/>
                  </a:cubicBezTo>
                  <a:cubicBezTo>
                    <a:pt x="52" y="24"/>
                    <a:pt x="29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Rectangle 3803">
              <a:extLst>
                <a:ext uri="{FF2B5EF4-FFF2-40B4-BE49-F238E27FC236}">
                  <a16:creationId xmlns:a16="http://schemas.microsoft.com/office/drawing/2014/main" id="{E191B452-698C-4DB2-AA31-473ADA997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9938" y="6194425"/>
              <a:ext cx="73025" cy="3365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3804">
              <a:extLst>
                <a:ext uri="{FF2B5EF4-FFF2-40B4-BE49-F238E27FC236}">
                  <a16:creationId xmlns:a16="http://schemas.microsoft.com/office/drawing/2014/main" id="{52598342-5F07-4037-AD70-36CAF13C0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6257925"/>
              <a:ext cx="222250" cy="41275"/>
            </a:xfrm>
            <a:custGeom>
              <a:avLst/>
              <a:gdLst>
                <a:gd name="T0" fmla="*/ 70 w 70"/>
                <a:gd name="T1" fmla="*/ 6 h 13"/>
                <a:gd name="T2" fmla="*/ 63 w 70"/>
                <a:gd name="T3" fmla="*/ 13 h 13"/>
                <a:gd name="T4" fmla="*/ 6 w 70"/>
                <a:gd name="T5" fmla="*/ 13 h 13"/>
                <a:gd name="T6" fmla="*/ 0 w 70"/>
                <a:gd name="T7" fmla="*/ 6 h 13"/>
                <a:gd name="T8" fmla="*/ 0 w 70"/>
                <a:gd name="T9" fmla="*/ 6 h 13"/>
                <a:gd name="T10" fmla="*/ 6 w 70"/>
                <a:gd name="T11" fmla="*/ 0 h 13"/>
                <a:gd name="T12" fmla="*/ 63 w 70"/>
                <a:gd name="T13" fmla="*/ 0 h 13"/>
                <a:gd name="T14" fmla="*/ 70 w 70"/>
                <a:gd name="T1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3">
                  <a:moveTo>
                    <a:pt x="70" y="6"/>
                  </a:moveTo>
                  <a:cubicBezTo>
                    <a:pt x="70" y="10"/>
                    <a:pt x="67" y="13"/>
                    <a:pt x="63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7" y="0"/>
                    <a:pt x="70" y="3"/>
                    <a:pt x="7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3805">
              <a:extLst>
                <a:ext uri="{FF2B5EF4-FFF2-40B4-BE49-F238E27FC236}">
                  <a16:creationId xmlns:a16="http://schemas.microsoft.com/office/drawing/2014/main" id="{F8A7E325-081B-4544-B7FC-F572FBAE5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6419850"/>
              <a:ext cx="222250" cy="41275"/>
            </a:xfrm>
            <a:custGeom>
              <a:avLst/>
              <a:gdLst>
                <a:gd name="T0" fmla="*/ 70 w 70"/>
                <a:gd name="T1" fmla="*/ 6 h 13"/>
                <a:gd name="T2" fmla="*/ 63 w 70"/>
                <a:gd name="T3" fmla="*/ 13 h 13"/>
                <a:gd name="T4" fmla="*/ 6 w 70"/>
                <a:gd name="T5" fmla="*/ 13 h 13"/>
                <a:gd name="T6" fmla="*/ 0 w 70"/>
                <a:gd name="T7" fmla="*/ 6 h 13"/>
                <a:gd name="T8" fmla="*/ 0 w 70"/>
                <a:gd name="T9" fmla="*/ 6 h 13"/>
                <a:gd name="T10" fmla="*/ 6 w 70"/>
                <a:gd name="T11" fmla="*/ 0 h 13"/>
                <a:gd name="T12" fmla="*/ 63 w 70"/>
                <a:gd name="T13" fmla="*/ 0 h 13"/>
                <a:gd name="T14" fmla="*/ 70 w 70"/>
                <a:gd name="T1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3">
                  <a:moveTo>
                    <a:pt x="70" y="6"/>
                  </a:moveTo>
                  <a:cubicBezTo>
                    <a:pt x="70" y="10"/>
                    <a:pt x="67" y="13"/>
                    <a:pt x="63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7" y="0"/>
                    <a:pt x="70" y="3"/>
                    <a:pt x="7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3806">
              <a:extLst>
                <a:ext uri="{FF2B5EF4-FFF2-40B4-BE49-F238E27FC236}">
                  <a16:creationId xmlns:a16="http://schemas.microsoft.com/office/drawing/2014/main" id="{1F59318F-CECA-44E0-9C25-B76F6D129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0588" y="5688013"/>
              <a:ext cx="1446213" cy="687388"/>
            </a:xfrm>
            <a:custGeom>
              <a:avLst/>
              <a:gdLst>
                <a:gd name="T0" fmla="*/ 341 w 455"/>
                <a:gd name="T1" fmla="*/ 16 h 216"/>
                <a:gd name="T2" fmla="*/ 271 w 455"/>
                <a:gd name="T3" fmla="*/ 0 h 216"/>
                <a:gd name="T4" fmla="*/ 271 w 455"/>
                <a:gd name="T5" fmla="*/ 9 h 216"/>
                <a:gd name="T6" fmla="*/ 338 w 455"/>
                <a:gd name="T7" fmla="*/ 25 h 216"/>
                <a:gd name="T8" fmla="*/ 446 w 455"/>
                <a:gd name="T9" fmla="*/ 100 h 216"/>
                <a:gd name="T10" fmla="*/ 338 w 455"/>
                <a:gd name="T11" fmla="*/ 174 h 216"/>
                <a:gd name="T12" fmla="*/ 71 w 455"/>
                <a:gd name="T13" fmla="*/ 207 h 216"/>
                <a:gd name="T14" fmla="*/ 0 w 455"/>
                <a:gd name="T15" fmla="*/ 205 h 216"/>
                <a:gd name="T16" fmla="*/ 0 w 455"/>
                <a:gd name="T17" fmla="*/ 214 h 216"/>
                <a:gd name="T18" fmla="*/ 71 w 455"/>
                <a:gd name="T19" fmla="*/ 216 h 216"/>
                <a:gd name="T20" fmla="*/ 341 w 455"/>
                <a:gd name="T21" fmla="*/ 183 h 216"/>
                <a:gd name="T22" fmla="*/ 455 w 455"/>
                <a:gd name="T23" fmla="*/ 100 h 216"/>
                <a:gd name="T24" fmla="*/ 341 w 455"/>
                <a:gd name="T25" fmla="*/ 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5" h="216">
                  <a:moveTo>
                    <a:pt x="341" y="16"/>
                  </a:moveTo>
                  <a:cubicBezTo>
                    <a:pt x="319" y="10"/>
                    <a:pt x="296" y="4"/>
                    <a:pt x="271" y="0"/>
                  </a:cubicBezTo>
                  <a:cubicBezTo>
                    <a:pt x="271" y="9"/>
                    <a:pt x="271" y="9"/>
                    <a:pt x="271" y="9"/>
                  </a:cubicBezTo>
                  <a:cubicBezTo>
                    <a:pt x="295" y="13"/>
                    <a:pt x="318" y="19"/>
                    <a:pt x="338" y="25"/>
                  </a:cubicBezTo>
                  <a:cubicBezTo>
                    <a:pt x="407" y="45"/>
                    <a:pt x="446" y="72"/>
                    <a:pt x="446" y="100"/>
                  </a:cubicBezTo>
                  <a:cubicBezTo>
                    <a:pt x="446" y="127"/>
                    <a:pt x="407" y="154"/>
                    <a:pt x="338" y="174"/>
                  </a:cubicBezTo>
                  <a:cubicBezTo>
                    <a:pt x="267" y="195"/>
                    <a:pt x="172" y="207"/>
                    <a:pt x="71" y="207"/>
                  </a:cubicBezTo>
                  <a:cubicBezTo>
                    <a:pt x="47" y="207"/>
                    <a:pt x="23" y="206"/>
                    <a:pt x="0" y="205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23" y="215"/>
                    <a:pt x="47" y="216"/>
                    <a:pt x="71" y="216"/>
                  </a:cubicBezTo>
                  <a:cubicBezTo>
                    <a:pt x="173" y="216"/>
                    <a:pt x="269" y="204"/>
                    <a:pt x="341" y="183"/>
                  </a:cubicBezTo>
                  <a:cubicBezTo>
                    <a:pt x="415" y="161"/>
                    <a:pt x="455" y="132"/>
                    <a:pt x="455" y="100"/>
                  </a:cubicBezTo>
                  <a:cubicBezTo>
                    <a:pt x="455" y="67"/>
                    <a:pt x="415" y="38"/>
                    <a:pt x="34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41113447-AA99-4129-8104-625E8AE41299}"/>
              </a:ext>
            </a:extLst>
          </p:cNvPr>
          <p:cNvSpPr/>
          <p:nvPr/>
        </p:nvSpPr>
        <p:spPr>
          <a:xfrm>
            <a:off x="532660" y="603682"/>
            <a:ext cx="2308194" cy="630314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歧义：耦合关系</a:t>
            </a:r>
          </a:p>
        </p:txBody>
      </p:sp>
    </p:spTree>
    <p:extLst>
      <p:ext uri="{BB962C8B-B14F-4D97-AF65-F5344CB8AC3E}">
        <p14:creationId xmlns:p14="http://schemas.microsoft.com/office/powerpoint/2010/main" val="717185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矩形 36">
            <a:extLst>
              <a:ext uri="{FF2B5EF4-FFF2-40B4-BE49-F238E27FC236}">
                <a16:creationId xmlns:a16="http://schemas.microsoft.com/office/drawing/2014/main" id="{41113447-AA99-4129-8104-625E8AE41299}"/>
              </a:ext>
            </a:extLst>
          </p:cNvPr>
          <p:cNvSpPr/>
          <p:nvPr/>
        </p:nvSpPr>
        <p:spPr>
          <a:xfrm>
            <a:off x="532660" y="603682"/>
            <a:ext cx="2308194" cy="630314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循环关系不明显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96A7BA27-C704-4BF4-810D-4D5ACA40CA7F}"/>
              </a:ext>
            </a:extLst>
          </p:cNvPr>
          <p:cNvGrpSpPr/>
          <p:nvPr/>
        </p:nvGrpSpPr>
        <p:grpSpPr>
          <a:xfrm>
            <a:off x="4319080" y="1233996"/>
            <a:ext cx="4895753" cy="4406303"/>
            <a:chOff x="5700684" y="816768"/>
            <a:chExt cx="6208712" cy="5588000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C83C74AE-34EF-41DD-856C-C40DE4AF0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684" y="2145506"/>
              <a:ext cx="2571750" cy="3290888"/>
            </a:xfrm>
            <a:custGeom>
              <a:avLst/>
              <a:gdLst>
                <a:gd name="T0" fmla="*/ 821 w 821"/>
                <a:gd name="T1" fmla="*/ 0 h 1051"/>
                <a:gd name="T2" fmla="*/ 387 w 821"/>
                <a:gd name="T3" fmla="*/ 66 h 1051"/>
                <a:gd name="T4" fmla="*/ 101 w 821"/>
                <a:gd name="T5" fmla="*/ 248 h 1051"/>
                <a:gd name="T6" fmla="*/ 25 w 821"/>
                <a:gd name="T7" fmla="*/ 371 h 1051"/>
                <a:gd name="T8" fmla="*/ 45 w 821"/>
                <a:gd name="T9" fmla="*/ 613 h 1051"/>
                <a:gd name="T10" fmla="*/ 298 w 821"/>
                <a:gd name="T11" fmla="*/ 1051 h 1051"/>
                <a:gd name="T12" fmla="*/ 306 w 821"/>
                <a:gd name="T13" fmla="*/ 783 h 1051"/>
                <a:gd name="T14" fmla="*/ 585 w 821"/>
                <a:gd name="T15" fmla="*/ 179 h 1051"/>
                <a:gd name="T16" fmla="*/ 821 w 821"/>
                <a:gd name="T17" fmla="*/ 0 h 1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1" h="1051">
                  <a:moveTo>
                    <a:pt x="821" y="0"/>
                  </a:moveTo>
                  <a:cubicBezTo>
                    <a:pt x="701" y="2"/>
                    <a:pt x="539" y="17"/>
                    <a:pt x="387" y="66"/>
                  </a:cubicBezTo>
                  <a:cubicBezTo>
                    <a:pt x="269" y="104"/>
                    <a:pt x="173" y="165"/>
                    <a:pt x="101" y="248"/>
                  </a:cubicBezTo>
                  <a:cubicBezTo>
                    <a:pt x="48" y="310"/>
                    <a:pt x="27" y="363"/>
                    <a:pt x="25" y="371"/>
                  </a:cubicBezTo>
                  <a:cubicBezTo>
                    <a:pt x="0" y="450"/>
                    <a:pt x="9" y="550"/>
                    <a:pt x="45" y="613"/>
                  </a:cubicBezTo>
                  <a:cubicBezTo>
                    <a:pt x="298" y="1051"/>
                    <a:pt x="298" y="1051"/>
                    <a:pt x="298" y="1051"/>
                  </a:cubicBezTo>
                  <a:cubicBezTo>
                    <a:pt x="285" y="978"/>
                    <a:pt x="283" y="889"/>
                    <a:pt x="306" y="783"/>
                  </a:cubicBezTo>
                  <a:cubicBezTo>
                    <a:pt x="371" y="478"/>
                    <a:pt x="564" y="209"/>
                    <a:pt x="585" y="179"/>
                  </a:cubicBezTo>
                  <a:cubicBezTo>
                    <a:pt x="644" y="96"/>
                    <a:pt x="727" y="34"/>
                    <a:pt x="821" y="0"/>
                  </a:cubicBezTo>
                </a:path>
              </a:pathLst>
            </a:custGeom>
            <a:solidFill>
              <a:srgbClr val="29ABE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BDF0FF11-B7E8-424E-91B0-F511FD85B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59" y="823118"/>
              <a:ext cx="3671887" cy="1822450"/>
            </a:xfrm>
            <a:custGeom>
              <a:avLst/>
              <a:gdLst>
                <a:gd name="T0" fmla="*/ 507 w 1172"/>
                <a:gd name="T1" fmla="*/ 0 h 582"/>
                <a:gd name="T2" fmla="*/ 453 w 1172"/>
                <a:gd name="T3" fmla="*/ 4 h 582"/>
                <a:gd name="T4" fmla="*/ 254 w 1172"/>
                <a:gd name="T5" fmla="*/ 143 h 582"/>
                <a:gd name="T6" fmla="*/ 0 w 1172"/>
                <a:gd name="T7" fmla="*/ 582 h 582"/>
                <a:gd name="T8" fmla="*/ 237 w 1172"/>
                <a:gd name="T9" fmla="*/ 454 h 582"/>
                <a:gd name="T10" fmla="*/ 721 w 1172"/>
                <a:gd name="T11" fmla="*/ 386 h 582"/>
                <a:gd name="T12" fmla="*/ 898 w 1172"/>
                <a:gd name="T13" fmla="*/ 394 h 582"/>
                <a:gd name="T14" fmla="*/ 1172 w 1172"/>
                <a:gd name="T15" fmla="*/ 508 h 582"/>
                <a:gd name="T16" fmla="*/ 898 w 1172"/>
                <a:gd name="T17" fmla="*/ 166 h 582"/>
                <a:gd name="T18" fmla="*/ 507 w 1172"/>
                <a:gd name="T19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2" h="582">
                  <a:moveTo>
                    <a:pt x="507" y="0"/>
                  </a:moveTo>
                  <a:cubicBezTo>
                    <a:pt x="477" y="0"/>
                    <a:pt x="457" y="4"/>
                    <a:pt x="453" y="4"/>
                  </a:cubicBezTo>
                  <a:cubicBezTo>
                    <a:pt x="372" y="23"/>
                    <a:pt x="290" y="80"/>
                    <a:pt x="254" y="143"/>
                  </a:cubicBezTo>
                  <a:cubicBezTo>
                    <a:pt x="0" y="582"/>
                    <a:pt x="0" y="582"/>
                    <a:pt x="0" y="582"/>
                  </a:cubicBezTo>
                  <a:cubicBezTo>
                    <a:pt x="57" y="534"/>
                    <a:pt x="134" y="487"/>
                    <a:pt x="237" y="454"/>
                  </a:cubicBezTo>
                  <a:cubicBezTo>
                    <a:pt x="411" y="397"/>
                    <a:pt x="596" y="386"/>
                    <a:pt x="721" y="386"/>
                  </a:cubicBezTo>
                  <a:cubicBezTo>
                    <a:pt x="812" y="386"/>
                    <a:pt x="879" y="392"/>
                    <a:pt x="898" y="394"/>
                  </a:cubicBezTo>
                  <a:cubicBezTo>
                    <a:pt x="1000" y="403"/>
                    <a:pt x="1095" y="444"/>
                    <a:pt x="1172" y="508"/>
                  </a:cubicBezTo>
                  <a:cubicBezTo>
                    <a:pt x="1108" y="403"/>
                    <a:pt x="1015" y="272"/>
                    <a:pt x="898" y="166"/>
                  </a:cubicBezTo>
                  <a:cubicBezTo>
                    <a:pt x="739" y="22"/>
                    <a:pt x="585" y="0"/>
                    <a:pt x="507" y="0"/>
                  </a:cubicBezTo>
                </a:path>
              </a:pathLst>
            </a:custGeom>
            <a:solidFill>
              <a:srgbClr val="58B7B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id="{706724FD-0FD7-4300-AFF0-F5F152FE5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184" y="816768"/>
              <a:ext cx="2617787" cy="3060700"/>
            </a:xfrm>
            <a:custGeom>
              <a:avLst/>
              <a:gdLst>
                <a:gd name="T0" fmla="*/ 508 w 836"/>
                <a:gd name="T1" fmla="*/ 0 h 977"/>
                <a:gd name="T2" fmla="*/ 0 w 836"/>
                <a:gd name="T3" fmla="*/ 0 h 977"/>
                <a:gd name="T4" fmla="*/ 230 w 836"/>
                <a:gd name="T5" fmla="*/ 141 h 977"/>
                <a:gd name="T6" fmla="*/ 609 w 836"/>
                <a:gd name="T7" fmla="*/ 675 h 977"/>
                <a:gd name="T8" fmla="*/ 658 w 836"/>
                <a:gd name="T9" fmla="*/ 892 h 977"/>
                <a:gd name="T10" fmla="*/ 651 w 836"/>
                <a:gd name="T11" fmla="*/ 977 h 977"/>
                <a:gd name="T12" fmla="*/ 810 w 836"/>
                <a:gd name="T13" fmla="*/ 570 h 977"/>
                <a:gd name="T14" fmla="*/ 796 w 836"/>
                <a:gd name="T15" fmla="*/ 231 h 977"/>
                <a:gd name="T16" fmla="*/ 728 w 836"/>
                <a:gd name="T17" fmla="*/ 104 h 977"/>
                <a:gd name="T18" fmla="*/ 508 w 836"/>
                <a:gd name="T19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6" h="977">
                  <a:moveTo>
                    <a:pt x="50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0" y="25"/>
                    <a:pt x="150" y="68"/>
                    <a:pt x="230" y="141"/>
                  </a:cubicBezTo>
                  <a:cubicBezTo>
                    <a:pt x="443" y="333"/>
                    <a:pt x="574" y="598"/>
                    <a:pt x="609" y="675"/>
                  </a:cubicBezTo>
                  <a:cubicBezTo>
                    <a:pt x="642" y="743"/>
                    <a:pt x="658" y="816"/>
                    <a:pt x="658" y="892"/>
                  </a:cubicBezTo>
                  <a:cubicBezTo>
                    <a:pt x="658" y="921"/>
                    <a:pt x="656" y="949"/>
                    <a:pt x="651" y="977"/>
                  </a:cubicBezTo>
                  <a:cubicBezTo>
                    <a:pt x="711" y="869"/>
                    <a:pt x="777" y="724"/>
                    <a:pt x="810" y="570"/>
                  </a:cubicBezTo>
                  <a:cubicBezTo>
                    <a:pt x="836" y="448"/>
                    <a:pt x="831" y="334"/>
                    <a:pt x="796" y="231"/>
                  </a:cubicBezTo>
                  <a:cubicBezTo>
                    <a:pt x="769" y="154"/>
                    <a:pt x="733" y="110"/>
                    <a:pt x="728" y="104"/>
                  </a:cubicBezTo>
                  <a:cubicBezTo>
                    <a:pt x="671" y="43"/>
                    <a:pt x="581" y="0"/>
                    <a:pt x="508" y="0"/>
                  </a:cubicBezTo>
                </a:path>
              </a:pathLst>
            </a:custGeom>
            <a:solidFill>
              <a:srgbClr val="A11B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E56FF008-52F2-4C12-BA91-C1CD5D500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21" y="1781968"/>
              <a:ext cx="2568575" cy="3294063"/>
            </a:xfrm>
            <a:custGeom>
              <a:avLst/>
              <a:gdLst>
                <a:gd name="T0" fmla="*/ 522 w 820"/>
                <a:gd name="T1" fmla="*/ 0 h 1052"/>
                <a:gd name="T2" fmla="*/ 515 w 820"/>
                <a:gd name="T3" fmla="*/ 269 h 1052"/>
                <a:gd name="T4" fmla="*/ 235 w 820"/>
                <a:gd name="T5" fmla="*/ 873 h 1052"/>
                <a:gd name="T6" fmla="*/ 0 w 820"/>
                <a:gd name="T7" fmla="*/ 1052 h 1052"/>
                <a:gd name="T8" fmla="*/ 433 w 820"/>
                <a:gd name="T9" fmla="*/ 986 h 1052"/>
                <a:gd name="T10" fmla="*/ 796 w 820"/>
                <a:gd name="T11" fmla="*/ 681 h 1052"/>
                <a:gd name="T12" fmla="*/ 775 w 820"/>
                <a:gd name="T13" fmla="*/ 439 h 1052"/>
                <a:gd name="T14" fmla="*/ 522 w 820"/>
                <a:gd name="T15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0" h="1052">
                  <a:moveTo>
                    <a:pt x="522" y="0"/>
                  </a:moveTo>
                  <a:cubicBezTo>
                    <a:pt x="535" y="74"/>
                    <a:pt x="537" y="163"/>
                    <a:pt x="515" y="269"/>
                  </a:cubicBezTo>
                  <a:cubicBezTo>
                    <a:pt x="449" y="574"/>
                    <a:pt x="257" y="843"/>
                    <a:pt x="235" y="873"/>
                  </a:cubicBezTo>
                  <a:cubicBezTo>
                    <a:pt x="176" y="956"/>
                    <a:pt x="93" y="1018"/>
                    <a:pt x="0" y="1052"/>
                  </a:cubicBezTo>
                  <a:cubicBezTo>
                    <a:pt x="119" y="1050"/>
                    <a:pt x="281" y="1035"/>
                    <a:pt x="433" y="986"/>
                  </a:cubicBezTo>
                  <a:cubicBezTo>
                    <a:pt x="715" y="895"/>
                    <a:pt x="791" y="694"/>
                    <a:pt x="796" y="681"/>
                  </a:cubicBezTo>
                  <a:cubicBezTo>
                    <a:pt x="820" y="602"/>
                    <a:pt x="812" y="502"/>
                    <a:pt x="775" y="439"/>
                  </a:cubicBezTo>
                  <a:cubicBezTo>
                    <a:pt x="522" y="0"/>
                    <a:pt x="522" y="0"/>
                    <a:pt x="522" y="0"/>
                  </a:cubicBezTo>
                </a:path>
              </a:pathLst>
            </a:custGeom>
            <a:solidFill>
              <a:srgbClr val="CC420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1879B302-34EB-4A45-9A4C-FE3EA4EF9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396" y="3344068"/>
              <a:ext cx="2730500" cy="3060700"/>
            </a:xfrm>
            <a:custGeom>
              <a:avLst/>
              <a:gdLst>
                <a:gd name="T0" fmla="*/ 221 w 872"/>
                <a:gd name="T1" fmla="*/ 0 h 977"/>
                <a:gd name="T2" fmla="*/ 62 w 872"/>
                <a:gd name="T3" fmla="*/ 407 h 977"/>
                <a:gd name="T4" fmla="*/ 145 w 872"/>
                <a:gd name="T5" fmla="*/ 873 h 977"/>
                <a:gd name="T6" fmla="*/ 365 w 872"/>
                <a:gd name="T7" fmla="*/ 977 h 977"/>
                <a:gd name="T8" fmla="*/ 872 w 872"/>
                <a:gd name="T9" fmla="*/ 977 h 977"/>
                <a:gd name="T10" fmla="*/ 642 w 872"/>
                <a:gd name="T11" fmla="*/ 836 h 977"/>
                <a:gd name="T12" fmla="*/ 263 w 872"/>
                <a:gd name="T13" fmla="*/ 302 h 977"/>
                <a:gd name="T14" fmla="*/ 214 w 872"/>
                <a:gd name="T15" fmla="*/ 85 h 977"/>
                <a:gd name="T16" fmla="*/ 221 w 872"/>
                <a:gd name="T17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2" h="977">
                  <a:moveTo>
                    <a:pt x="221" y="0"/>
                  </a:moveTo>
                  <a:cubicBezTo>
                    <a:pt x="162" y="108"/>
                    <a:pt x="95" y="253"/>
                    <a:pt x="62" y="407"/>
                  </a:cubicBezTo>
                  <a:cubicBezTo>
                    <a:pt x="0" y="697"/>
                    <a:pt x="136" y="863"/>
                    <a:pt x="145" y="873"/>
                  </a:cubicBezTo>
                  <a:cubicBezTo>
                    <a:pt x="201" y="934"/>
                    <a:pt x="292" y="977"/>
                    <a:pt x="365" y="977"/>
                  </a:cubicBezTo>
                  <a:cubicBezTo>
                    <a:pt x="872" y="977"/>
                    <a:pt x="872" y="977"/>
                    <a:pt x="872" y="977"/>
                  </a:cubicBezTo>
                  <a:cubicBezTo>
                    <a:pt x="802" y="952"/>
                    <a:pt x="723" y="909"/>
                    <a:pt x="642" y="836"/>
                  </a:cubicBezTo>
                  <a:cubicBezTo>
                    <a:pt x="429" y="644"/>
                    <a:pt x="298" y="379"/>
                    <a:pt x="263" y="302"/>
                  </a:cubicBezTo>
                  <a:cubicBezTo>
                    <a:pt x="230" y="234"/>
                    <a:pt x="214" y="161"/>
                    <a:pt x="214" y="85"/>
                  </a:cubicBezTo>
                  <a:cubicBezTo>
                    <a:pt x="214" y="56"/>
                    <a:pt x="216" y="28"/>
                    <a:pt x="221" y="0"/>
                  </a:cubicBezTo>
                </a:path>
              </a:pathLst>
            </a:custGeom>
            <a:solidFill>
              <a:srgbClr val="B9B82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9217B9CB-65A4-43C6-9C99-FD10D0912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34" y="4575968"/>
              <a:ext cx="3670300" cy="1822450"/>
            </a:xfrm>
            <a:custGeom>
              <a:avLst/>
              <a:gdLst>
                <a:gd name="T0" fmla="*/ 1172 w 1172"/>
                <a:gd name="T1" fmla="*/ 0 h 582"/>
                <a:gd name="T2" fmla="*/ 936 w 1172"/>
                <a:gd name="T3" fmla="*/ 128 h 582"/>
                <a:gd name="T4" fmla="*/ 451 w 1172"/>
                <a:gd name="T5" fmla="*/ 196 h 582"/>
                <a:gd name="T6" fmla="*/ 275 w 1172"/>
                <a:gd name="T7" fmla="*/ 188 h 582"/>
                <a:gd name="T8" fmla="*/ 0 w 1172"/>
                <a:gd name="T9" fmla="*/ 74 h 582"/>
                <a:gd name="T10" fmla="*/ 274 w 1172"/>
                <a:gd name="T11" fmla="*/ 416 h 582"/>
                <a:gd name="T12" fmla="*/ 665 w 1172"/>
                <a:gd name="T13" fmla="*/ 582 h 582"/>
                <a:gd name="T14" fmla="*/ 719 w 1172"/>
                <a:gd name="T15" fmla="*/ 578 h 582"/>
                <a:gd name="T16" fmla="*/ 919 w 1172"/>
                <a:gd name="T17" fmla="*/ 439 h 582"/>
                <a:gd name="T18" fmla="*/ 1172 w 1172"/>
                <a:gd name="T19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2" h="582">
                  <a:moveTo>
                    <a:pt x="1172" y="0"/>
                  </a:moveTo>
                  <a:cubicBezTo>
                    <a:pt x="1115" y="48"/>
                    <a:pt x="1038" y="95"/>
                    <a:pt x="936" y="128"/>
                  </a:cubicBezTo>
                  <a:cubicBezTo>
                    <a:pt x="761" y="185"/>
                    <a:pt x="576" y="196"/>
                    <a:pt x="451" y="196"/>
                  </a:cubicBezTo>
                  <a:cubicBezTo>
                    <a:pt x="360" y="196"/>
                    <a:pt x="293" y="190"/>
                    <a:pt x="275" y="188"/>
                  </a:cubicBezTo>
                  <a:cubicBezTo>
                    <a:pt x="173" y="179"/>
                    <a:pt x="77" y="138"/>
                    <a:pt x="0" y="74"/>
                  </a:cubicBezTo>
                  <a:cubicBezTo>
                    <a:pt x="64" y="179"/>
                    <a:pt x="157" y="310"/>
                    <a:pt x="274" y="416"/>
                  </a:cubicBezTo>
                  <a:cubicBezTo>
                    <a:pt x="434" y="560"/>
                    <a:pt x="588" y="582"/>
                    <a:pt x="665" y="582"/>
                  </a:cubicBezTo>
                  <a:cubicBezTo>
                    <a:pt x="695" y="582"/>
                    <a:pt x="715" y="578"/>
                    <a:pt x="719" y="578"/>
                  </a:cubicBezTo>
                  <a:cubicBezTo>
                    <a:pt x="800" y="559"/>
                    <a:pt x="882" y="502"/>
                    <a:pt x="919" y="439"/>
                  </a:cubicBezTo>
                  <a:cubicBezTo>
                    <a:pt x="1172" y="0"/>
                    <a:pt x="1172" y="0"/>
                    <a:pt x="1172" y="0"/>
                  </a:cubicBezTo>
                </a:path>
              </a:pathLst>
            </a:custGeom>
            <a:solidFill>
              <a:srgbClr val="F47C0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C48FCD6A-2309-42B9-AC63-8E433C31D014}"/>
                </a:ext>
              </a:extLst>
            </p:cNvPr>
            <p:cNvGrpSpPr/>
            <p:nvPr/>
          </p:nvGrpSpPr>
          <p:grpSpPr>
            <a:xfrm>
              <a:off x="7225900" y="967325"/>
              <a:ext cx="757518" cy="959724"/>
              <a:chOff x="4381501" y="-1001712"/>
              <a:chExt cx="796925" cy="1009650"/>
            </a:xfrm>
            <a:solidFill>
              <a:schemeClr val="bg1"/>
            </a:solidFill>
          </p:grpSpPr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3DD5ED13-7DE6-4094-BFC3-72A6F268A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0451" y="-1001712"/>
                <a:ext cx="214313" cy="214313"/>
              </a:xfrm>
              <a:custGeom>
                <a:avLst/>
                <a:gdLst>
                  <a:gd name="T0" fmla="*/ 7 w 90"/>
                  <a:gd name="T1" fmla="*/ 33 h 90"/>
                  <a:gd name="T2" fmla="*/ 33 w 90"/>
                  <a:gd name="T3" fmla="*/ 83 h 90"/>
                  <a:gd name="T4" fmla="*/ 83 w 90"/>
                  <a:gd name="T5" fmla="*/ 58 h 90"/>
                  <a:gd name="T6" fmla="*/ 58 w 90"/>
                  <a:gd name="T7" fmla="*/ 7 h 90"/>
                  <a:gd name="T8" fmla="*/ 7 w 90"/>
                  <a:gd name="T9" fmla="*/ 3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90">
                    <a:moveTo>
                      <a:pt x="7" y="33"/>
                    </a:moveTo>
                    <a:cubicBezTo>
                      <a:pt x="0" y="54"/>
                      <a:pt x="12" y="76"/>
                      <a:pt x="33" y="83"/>
                    </a:cubicBezTo>
                    <a:cubicBezTo>
                      <a:pt x="54" y="90"/>
                      <a:pt x="77" y="79"/>
                      <a:pt x="83" y="58"/>
                    </a:cubicBezTo>
                    <a:cubicBezTo>
                      <a:pt x="90" y="37"/>
                      <a:pt x="79" y="14"/>
                      <a:pt x="58" y="7"/>
                    </a:cubicBezTo>
                    <a:cubicBezTo>
                      <a:pt x="37" y="0"/>
                      <a:pt x="14" y="12"/>
                      <a:pt x="7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7306B6E9-3674-405C-8C81-3B5E44FA7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1501" y="-811212"/>
                <a:ext cx="796925" cy="819150"/>
              </a:xfrm>
              <a:custGeom>
                <a:avLst/>
                <a:gdLst>
                  <a:gd name="T0" fmla="*/ 282 w 335"/>
                  <a:gd name="T1" fmla="*/ 105 h 345"/>
                  <a:gd name="T2" fmla="*/ 281 w 335"/>
                  <a:gd name="T3" fmla="*/ 104 h 345"/>
                  <a:gd name="T4" fmla="*/ 274 w 335"/>
                  <a:gd name="T5" fmla="*/ 88 h 345"/>
                  <a:gd name="T6" fmla="*/ 274 w 335"/>
                  <a:gd name="T7" fmla="*/ 88 h 345"/>
                  <a:gd name="T8" fmla="*/ 274 w 335"/>
                  <a:gd name="T9" fmla="*/ 88 h 345"/>
                  <a:gd name="T10" fmla="*/ 259 w 335"/>
                  <a:gd name="T11" fmla="*/ 39 h 345"/>
                  <a:gd name="T12" fmla="*/ 223 w 335"/>
                  <a:gd name="T13" fmla="*/ 6 h 345"/>
                  <a:gd name="T14" fmla="*/ 156 w 335"/>
                  <a:gd name="T15" fmla="*/ 14 h 345"/>
                  <a:gd name="T16" fmla="*/ 120 w 335"/>
                  <a:gd name="T17" fmla="*/ 26 h 345"/>
                  <a:gd name="T18" fmla="*/ 103 w 335"/>
                  <a:gd name="T19" fmla="*/ 42 h 345"/>
                  <a:gd name="T20" fmla="*/ 93 w 335"/>
                  <a:gd name="T21" fmla="*/ 108 h 345"/>
                  <a:gd name="T22" fmla="*/ 111 w 335"/>
                  <a:gd name="T23" fmla="*/ 111 h 345"/>
                  <a:gd name="T24" fmla="*/ 132 w 335"/>
                  <a:gd name="T25" fmla="*/ 52 h 345"/>
                  <a:gd name="T26" fmla="*/ 166 w 335"/>
                  <a:gd name="T27" fmla="*/ 47 h 345"/>
                  <a:gd name="T28" fmla="*/ 131 w 335"/>
                  <a:gd name="T29" fmla="*/ 114 h 345"/>
                  <a:gd name="T30" fmla="*/ 105 w 335"/>
                  <a:gd name="T31" fmla="*/ 159 h 345"/>
                  <a:gd name="T32" fmla="*/ 76 w 335"/>
                  <a:gd name="T33" fmla="*/ 188 h 345"/>
                  <a:gd name="T34" fmla="*/ 44 w 335"/>
                  <a:gd name="T35" fmla="*/ 185 h 345"/>
                  <a:gd name="T36" fmla="*/ 15 w 335"/>
                  <a:gd name="T37" fmla="*/ 178 h 345"/>
                  <a:gd name="T38" fmla="*/ 9 w 335"/>
                  <a:gd name="T39" fmla="*/ 176 h 345"/>
                  <a:gd name="T40" fmla="*/ 0 w 335"/>
                  <a:gd name="T41" fmla="*/ 199 h 345"/>
                  <a:gd name="T42" fmla="*/ 29 w 335"/>
                  <a:gd name="T43" fmla="*/ 209 h 345"/>
                  <a:gd name="T44" fmla="*/ 78 w 335"/>
                  <a:gd name="T45" fmla="*/ 223 h 345"/>
                  <a:gd name="T46" fmla="*/ 135 w 335"/>
                  <a:gd name="T47" fmla="*/ 196 h 345"/>
                  <a:gd name="T48" fmla="*/ 155 w 335"/>
                  <a:gd name="T49" fmla="*/ 173 h 345"/>
                  <a:gd name="T50" fmla="*/ 169 w 335"/>
                  <a:gd name="T51" fmla="*/ 167 h 345"/>
                  <a:gd name="T52" fmla="*/ 179 w 335"/>
                  <a:gd name="T53" fmla="*/ 177 h 345"/>
                  <a:gd name="T54" fmla="*/ 207 w 335"/>
                  <a:gd name="T55" fmla="*/ 232 h 345"/>
                  <a:gd name="T56" fmla="*/ 205 w 335"/>
                  <a:gd name="T57" fmla="*/ 285 h 345"/>
                  <a:gd name="T58" fmla="*/ 198 w 335"/>
                  <a:gd name="T59" fmla="*/ 330 h 345"/>
                  <a:gd name="T60" fmla="*/ 197 w 335"/>
                  <a:gd name="T61" fmla="*/ 341 h 345"/>
                  <a:gd name="T62" fmla="*/ 222 w 335"/>
                  <a:gd name="T63" fmla="*/ 345 h 345"/>
                  <a:gd name="T64" fmla="*/ 238 w 335"/>
                  <a:gd name="T65" fmla="*/ 289 h 345"/>
                  <a:gd name="T66" fmla="*/ 245 w 335"/>
                  <a:gd name="T67" fmla="*/ 223 h 345"/>
                  <a:gd name="T68" fmla="*/ 233 w 335"/>
                  <a:gd name="T69" fmla="*/ 187 h 345"/>
                  <a:gd name="T70" fmla="*/ 220 w 335"/>
                  <a:gd name="T71" fmla="*/ 153 h 345"/>
                  <a:gd name="T72" fmla="*/ 217 w 335"/>
                  <a:gd name="T73" fmla="*/ 145 h 345"/>
                  <a:gd name="T74" fmla="*/ 240 w 335"/>
                  <a:gd name="T75" fmla="*/ 75 h 345"/>
                  <a:gd name="T76" fmla="*/ 254 w 335"/>
                  <a:gd name="T77" fmla="*/ 116 h 345"/>
                  <a:gd name="T78" fmla="*/ 274 w 335"/>
                  <a:gd name="T79" fmla="*/ 128 h 345"/>
                  <a:gd name="T80" fmla="*/ 335 w 335"/>
                  <a:gd name="T81" fmla="*/ 125 h 345"/>
                  <a:gd name="T82" fmla="*/ 334 w 335"/>
                  <a:gd name="T83" fmla="*/ 111 h 345"/>
                  <a:gd name="T84" fmla="*/ 282 w 335"/>
                  <a:gd name="T85" fmla="*/ 10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5" h="345">
                    <a:moveTo>
                      <a:pt x="282" y="105"/>
                    </a:moveTo>
                    <a:cubicBezTo>
                      <a:pt x="282" y="105"/>
                      <a:pt x="282" y="105"/>
                      <a:pt x="281" y="104"/>
                    </a:cubicBezTo>
                    <a:cubicBezTo>
                      <a:pt x="280" y="103"/>
                      <a:pt x="279" y="101"/>
                      <a:pt x="274" y="88"/>
                    </a:cubicBezTo>
                    <a:cubicBezTo>
                      <a:pt x="274" y="88"/>
                      <a:pt x="274" y="88"/>
                      <a:pt x="274" y="88"/>
                    </a:cubicBezTo>
                    <a:cubicBezTo>
                      <a:pt x="274" y="88"/>
                      <a:pt x="274" y="88"/>
                      <a:pt x="274" y="88"/>
                    </a:cubicBezTo>
                    <a:cubicBezTo>
                      <a:pt x="274" y="88"/>
                      <a:pt x="263" y="52"/>
                      <a:pt x="259" y="39"/>
                    </a:cubicBezTo>
                    <a:cubicBezTo>
                      <a:pt x="252" y="23"/>
                      <a:pt x="241" y="11"/>
                      <a:pt x="223" y="6"/>
                    </a:cubicBezTo>
                    <a:cubicBezTo>
                      <a:pt x="203" y="0"/>
                      <a:pt x="179" y="8"/>
                      <a:pt x="156" y="14"/>
                    </a:cubicBezTo>
                    <a:cubicBezTo>
                      <a:pt x="145" y="18"/>
                      <a:pt x="130" y="21"/>
                      <a:pt x="120" y="26"/>
                    </a:cubicBezTo>
                    <a:cubicBezTo>
                      <a:pt x="120" y="26"/>
                      <a:pt x="107" y="29"/>
                      <a:pt x="103" y="42"/>
                    </a:cubicBezTo>
                    <a:cubicBezTo>
                      <a:pt x="93" y="108"/>
                      <a:pt x="93" y="108"/>
                      <a:pt x="93" y="108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6" y="52"/>
                      <a:pt x="157" y="48"/>
                      <a:pt x="166" y="47"/>
                    </a:cubicBezTo>
                    <a:cubicBezTo>
                      <a:pt x="161" y="57"/>
                      <a:pt x="145" y="87"/>
                      <a:pt x="131" y="114"/>
                    </a:cubicBezTo>
                    <a:cubicBezTo>
                      <a:pt x="122" y="129"/>
                      <a:pt x="114" y="144"/>
                      <a:pt x="105" y="159"/>
                    </a:cubicBezTo>
                    <a:cubicBezTo>
                      <a:pt x="98" y="171"/>
                      <a:pt x="91" y="187"/>
                      <a:pt x="76" y="188"/>
                    </a:cubicBezTo>
                    <a:cubicBezTo>
                      <a:pt x="66" y="189"/>
                      <a:pt x="53" y="187"/>
                      <a:pt x="44" y="185"/>
                    </a:cubicBezTo>
                    <a:cubicBezTo>
                      <a:pt x="35" y="182"/>
                      <a:pt x="25" y="180"/>
                      <a:pt x="15" y="178"/>
                    </a:cubicBezTo>
                    <a:cubicBezTo>
                      <a:pt x="13" y="177"/>
                      <a:pt x="11" y="177"/>
                      <a:pt x="9" y="176"/>
                    </a:cubicBezTo>
                    <a:cubicBezTo>
                      <a:pt x="0" y="199"/>
                      <a:pt x="0" y="199"/>
                      <a:pt x="0" y="199"/>
                    </a:cubicBezTo>
                    <a:cubicBezTo>
                      <a:pt x="9" y="202"/>
                      <a:pt x="19" y="206"/>
                      <a:pt x="29" y="209"/>
                    </a:cubicBezTo>
                    <a:cubicBezTo>
                      <a:pt x="44" y="215"/>
                      <a:pt x="62" y="221"/>
                      <a:pt x="78" y="223"/>
                    </a:cubicBezTo>
                    <a:cubicBezTo>
                      <a:pt x="102" y="226"/>
                      <a:pt x="121" y="214"/>
                      <a:pt x="135" y="196"/>
                    </a:cubicBezTo>
                    <a:cubicBezTo>
                      <a:pt x="142" y="189"/>
                      <a:pt x="149" y="181"/>
                      <a:pt x="155" y="173"/>
                    </a:cubicBezTo>
                    <a:cubicBezTo>
                      <a:pt x="158" y="169"/>
                      <a:pt x="164" y="166"/>
                      <a:pt x="169" y="167"/>
                    </a:cubicBezTo>
                    <a:cubicBezTo>
                      <a:pt x="174" y="168"/>
                      <a:pt x="177" y="173"/>
                      <a:pt x="179" y="177"/>
                    </a:cubicBezTo>
                    <a:cubicBezTo>
                      <a:pt x="190" y="193"/>
                      <a:pt x="200" y="213"/>
                      <a:pt x="207" y="232"/>
                    </a:cubicBezTo>
                    <a:cubicBezTo>
                      <a:pt x="213" y="247"/>
                      <a:pt x="207" y="270"/>
                      <a:pt x="205" y="285"/>
                    </a:cubicBezTo>
                    <a:cubicBezTo>
                      <a:pt x="202" y="302"/>
                      <a:pt x="201" y="313"/>
                      <a:pt x="198" y="330"/>
                    </a:cubicBezTo>
                    <a:cubicBezTo>
                      <a:pt x="198" y="333"/>
                      <a:pt x="197" y="339"/>
                      <a:pt x="197" y="341"/>
                    </a:cubicBezTo>
                    <a:cubicBezTo>
                      <a:pt x="222" y="345"/>
                      <a:pt x="222" y="345"/>
                      <a:pt x="222" y="345"/>
                    </a:cubicBezTo>
                    <a:cubicBezTo>
                      <a:pt x="226" y="327"/>
                      <a:pt x="233" y="306"/>
                      <a:pt x="238" y="289"/>
                    </a:cubicBezTo>
                    <a:cubicBezTo>
                      <a:pt x="243" y="268"/>
                      <a:pt x="250" y="244"/>
                      <a:pt x="245" y="223"/>
                    </a:cubicBezTo>
                    <a:cubicBezTo>
                      <a:pt x="242" y="210"/>
                      <a:pt x="238" y="199"/>
                      <a:pt x="233" y="187"/>
                    </a:cubicBezTo>
                    <a:cubicBezTo>
                      <a:pt x="229" y="175"/>
                      <a:pt x="224" y="165"/>
                      <a:pt x="220" y="153"/>
                    </a:cubicBezTo>
                    <a:cubicBezTo>
                      <a:pt x="219" y="151"/>
                      <a:pt x="216" y="146"/>
                      <a:pt x="217" y="145"/>
                    </a:cubicBezTo>
                    <a:cubicBezTo>
                      <a:pt x="217" y="145"/>
                      <a:pt x="240" y="75"/>
                      <a:pt x="240" y="75"/>
                    </a:cubicBezTo>
                    <a:cubicBezTo>
                      <a:pt x="254" y="116"/>
                      <a:pt x="254" y="116"/>
                      <a:pt x="254" y="116"/>
                    </a:cubicBezTo>
                    <a:cubicBezTo>
                      <a:pt x="255" y="114"/>
                      <a:pt x="257" y="128"/>
                      <a:pt x="274" y="128"/>
                    </a:cubicBezTo>
                    <a:cubicBezTo>
                      <a:pt x="335" y="125"/>
                      <a:pt x="335" y="125"/>
                      <a:pt x="335" y="125"/>
                    </a:cubicBezTo>
                    <a:cubicBezTo>
                      <a:pt x="334" y="111"/>
                      <a:pt x="334" y="111"/>
                      <a:pt x="334" y="111"/>
                    </a:cubicBezTo>
                    <a:lnTo>
                      <a:pt x="282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46" name="组合 45">
              <a:extLst>
                <a:ext uri="{FF2B5EF4-FFF2-40B4-BE49-F238E27FC236}">
                  <a16:creationId xmlns:a16="http://schemas.microsoft.com/office/drawing/2014/main" id="{25B1E8D4-D227-4EEF-8D6A-000A5ABC28F2}"/>
                </a:ext>
              </a:extLst>
            </p:cNvPr>
            <p:cNvGrpSpPr/>
            <p:nvPr/>
          </p:nvGrpSpPr>
          <p:grpSpPr>
            <a:xfrm>
              <a:off x="7873064" y="2690068"/>
              <a:ext cx="1847169" cy="1753343"/>
              <a:chOff x="3300413" y="-931862"/>
              <a:chExt cx="1000126" cy="949325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75" name="Freeform 16">
                <a:extLst>
                  <a:ext uri="{FF2B5EF4-FFF2-40B4-BE49-F238E27FC236}">
                    <a16:creationId xmlns:a16="http://schemas.microsoft.com/office/drawing/2014/main" id="{41BD98DA-E282-426A-8477-C7C848952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6" y="-677862"/>
                <a:ext cx="252413" cy="188913"/>
              </a:xfrm>
              <a:custGeom>
                <a:avLst/>
                <a:gdLst>
                  <a:gd name="T0" fmla="*/ 101 w 106"/>
                  <a:gd name="T1" fmla="*/ 60 h 80"/>
                  <a:gd name="T2" fmla="*/ 104 w 106"/>
                  <a:gd name="T3" fmla="*/ 61 h 80"/>
                  <a:gd name="T4" fmla="*/ 105 w 106"/>
                  <a:gd name="T5" fmla="*/ 61 h 80"/>
                  <a:gd name="T6" fmla="*/ 106 w 106"/>
                  <a:gd name="T7" fmla="*/ 62 h 80"/>
                  <a:gd name="T8" fmla="*/ 104 w 106"/>
                  <a:gd name="T9" fmla="*/ 77 h 80"/>
                  <a:gd name="T10" fmla="*/ 104 w 106"/>
                  <a:gd name="T11" fmla="*/ 78 h 80"/>
                  <a:gd name="T12" fmla="*/ 70 w 106"/>
                  <a:gd name="T13" fmla="*/ 71 h 80"/>
                  <a:gd name="T14" fmla="*/ 69 w 106"/>
                  <a:gd name="T15" fmla="*/ 71 h 80"/>
                  <a:gd name="T16" fmla="*/ 6 w 106"/>
                  <a:gd name="T17" fmla="*/ 25 h 80"/>
                  <a:gd name="T18" fmla="*/ 0 w 106"/>
                  <a:gd name="T19" fmla="*/ 19 h 80"/>
                  <a:gd name="T20" fmla="*/ 31 w 106"/>
                  <a:gd name="T21" fmla="*/ 2 h 80"/>
                  <a:gd name="T22" fmla="*/ 75 w 106"/>
                  <a:gd name="T23" fmla="*/ 46 h 80"/>
                  <a:gd name="T24" fmla="*/ 101 w 106"/>
                  <a:gd name="T25" fmla="*/ 6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6" h="80">
                    <a:moveTo>
                      <a:pt x="101" y="60"/>
                    </a:moveTo>
                    <a:cubicBezTo>
                      <a:pt x="102" y="60"/>
                      <a:pt x="104" y="61"/>
                      <a:pt x="104" y="61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6" y="62"/>
                      <a:pt x="106" y="62"/>
                      <a:pt x="106" y="62"/>
                    </a:cubicBezTo>
                    <a:cubicBezTo>
                      <a:pt x="104" y="77"/>
                      <a:pt x="104" y="77"/>
                      <a:pt x="104" y="77"/>
                    </a:cubicBezTo>
                    <a:cubicBezTo>
                      <a:pt x="104" y="78"/>
                      <a:pt x="104" y="78"/>
                      <a:pt x="104" y="78"/>
                    </a:cubicBezTo>
                    <a:cubicBezTo>
                      <a:pt x="100" y="80"/>
                      <a:pt x="80" y="75"/>
                      <a:pt x="70" y="71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46" y="63"/>
                      <a:pt x="23" y="46"/>
                      <a:pt x="6" y="25"/>
                    </a:cubicBezTo>
                    <a:cubicBezTo>
                      <a:pt x="4" y="23"/>
                      <a:pt x="2" y="21"/>
                      <a:pt x="0" y="19"/>
                    </a:cubicBezTo>
                    <a:cubicBezTo>
                      <a:pt x="5" y="2"/>
                      <a:pt x="20" y="0"/>
                      <a:pt x="31" y="2"/>
                    </a:cubicBezTo>
                    <a:cubicBezTo>
                      <a:pt x="43" y="20"/>
                      <a:pt x="56" y="35"/>
                      <a:pt x="75" y="46"/>
                    </a:cubicBezTo>
                    <a:cubicBezTo>
                      <a:pt x="76" y="47"/>
                      <a:pt x="92" y="57"/>
                      <a:pt x="101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" name="Oval 17">
                <a:extLst>
                  <a:ext uri="{FF2B5EF4-FFF2-40B4-BE49-F238E27FC236}">
                    <a16:creationId xmlns:a16="http://schemas.microsoft.com/office/drawing/2014/main" id="{33506857-2246-47C1-B285-66491E8F2D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0813" y="-931862"/>
                <a:ext cx="177800" cy="177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" name="Freeform 18">
                <a:extLst>
                  <a:ext uri="{FF2B5EF4-FFF2-40B4-BE49-F238E27FC236}">
                    <a16:creationId xmlns:a16="http://schemas.microsoft.com/office/drawing/2014/main" id="{A31D25CD-BFC1-4F44-83D4-B58FB5F89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3926" y="-474662"/>
                <a:ext cx="520700" cy="323850"/>
              </a:xfrm>
              <a:custGeom>
                <a:avLst/>
                <a:gdLst>
                  <a:gd name="T0" fmla="*/ 4 w 219"/>
                  <a:gd name="T1" fmla="*/ 136 h 136"/>
                  <a:gd name="T2" fmla="*/ 1 w 219"/>
                  <a:gd name="T3" fmla="*/ 134 h 136"/>
                  <a:gd name="T4" fmla="*/ 1 w 219"/>
                  <a:gd name="T5" fmla="*/ 134 h 136"/>
                  <a:gd name="T6" fmla="*/ 1 w 219"/>
                  <a:gd name="T7" fmla="*/ 130 h 136"/>
                  <a:gd name="T8" fmla="*/ 1 w 219"/>
                  <a:gd name="T9" fmla="*/ 130 h 136"/>
                  <a:gd name="T10" fmla="*/ 74 w 219"/>
                  <a:gd name="T11" fmla="*/ 3 h 136"/>
                  <a:gd name="T12" fmla="*/ 79 w 219"/>
                  <a:gd name="T13" fmla="*/ 1 h 136"/>
                  <a:gd name="T14" fmla="*/ 79 w 219"/>
                  <a:gd name="T15" fmla="*/ 1 h 136"/>
                  <a:gd name="T16" fmla="*/ 81 w 219"/>
                  <a:gd name="T17" fmla="*/ 7 h 136"/>
                  <a:gd name="T18" fmla="*/ 81 w 219"/>
                  <a:gd name="T19" fmla="*/ 7 h 136"/>
                  <a:gd name="T20" fmla="*/ 11 w 219"/>
                  <a:gd name="T21" fmla="*/ 128 h 136"/>
                  <a:gd name="T22" fmla="*/ 142 w 219"/>
                  <a:gd name="T23" fmla="*/ 128 h 136"/>
                  <a:gd name="T24" fmla="*/ 208 w 219"/>
                  <a:gd name="T25" fmla="*/ 10 h 136"/>
                  <a:gd name="T26" fmla="*/ 89 w 219"/>
                  <a:gd name="T27" fmla="*/ 10 h 136"/>
                  <a:gd name="T28" fmla="*/ 85 w 219"/>
                  <a:gd name="T29" fmla="*/ 6 h 136"/>
                  <a:gd name="T30" fmla="*/ 85 w 219"/>
                  <a:gd name="T31" fmla="*/ 6 h 136"/>
                  <a:gd name="T32" fmla="*/ 89 w 219"/>
                  <a:gd name="T33" fmla="*/ 2 h 136"/>
                  <a:gd name="T34" fmla="*/ 89 w 219"/>
                  <a:gd name="T35" fmla="*/ 2 h 136"/>
                  <a:gd name="T36" fmla="*/ 215 w 219"/>
                  <a:gd name="T37" fmla="*/ 2 h 136"/>
                  <a:gd name="T38" fmla="*/ 219 w 219"/>
                  <a:gd name="T39" fmla="*/ 4 h 136"/>
                  <a:gd name="T40" fmla="*/ 219 w 219"/>
                  <a:gd name="T41" fmla="*/ 4 h 136"/>
                  <a:gd name="T42" fmla="*/ 219 w 219"/>
                  <a:gd name="T43" fmla="*/ 8 h 136"/>
                  <a:gd name="T44" fmla="*/ 219 w 219"/>
                  <a:gd name="T45" fmla="*/ 8 h 136"/>
                  <a:gd name="T46" fmla="*/ 148 w 219"/>
                  <a:gd name="T47" fmla="*/ 134 h 136"/>
                  <a:gd name="T48" fmla="*/ 144 w 219"/>
                  <a:gd name="T49" fmla="*/ 136 h 136"/>
                  <a:gd name="T50" fmla="*/ 144 w 219"/>
                  <a:gd name="T51" fmla="*/ 136 h 136"/>
                  <a:gd name="T52" fmla="*/ 4 w 219"/>
                  <a:gd name="T5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9" h="136">
                    <a:moveTo>
                      <a:pt x="4" y="136"/>
                    </a:moveTo>
                    <a:cubicBezTo>
                      <a:pt x="3" y="136"/>
                      <a:pt x="1" y="136"/>
                      <a:pt x="1" y="134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1"/>
                      <a:pt x="1" y="130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74" y="3"/>
                      <a:pt x="74" y="3"/>
                      <a:pt x="74" y="3"/>
                    </a:cubicBezTo>
                    <a:cubicBezTo>
                      <a:pt x="75" y="1"/>
                      <a:pt x="77" y="0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81" y="2"/>
                      <a:pt x="82" y="5"/>
                      <a:pt x="81" y="7"/>
                    </a:cubicBezTo>
                    <a:cubicBezTo>
                      <a:pt x="81" y="7"/>
                      <a:pt x="81" y="7"/>
                      <a:pt x="81" y="7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142" y="128"/>
                      <a:pt x="142" y="128"/>
                      <a:pt x="142" y="128"/>
                    </a:cubicBezTo>
                    <a:cubicBezTo>
                      <a:pt x="208" y="10"/>
                      <a:pt x="208" y="10"/>
                      <a:pt x="208" y="10"/>
                    </a:cubicBezTo>
                    <a:cubicBezTo>
                      <a:pt x="89" y="10"/>
                      <a:pt x="89" y="10"/>
                      <a:pt x="89" y="10"/>
                    </a:cubicBezTo>
                    <a:cubicBezTo>
                      <a:pt x="87" y="10"/>
                      <a:pt x="85" y="8"/>
                      <a:pt x="85" y="6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85" y="4"/>
                      <a:pt x="87" y="2"/>
                      <a:pt x="89" y="2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215" y="2"/>
                      <a:pt x="215" y="2"/>
                      <a:pt x="215" y="2"/>
                    </a:cubicBezTo>
                    <a:cubicBezTo>
                      <a:pt x="217" y="2"/>
                      <a:pt x="218" y="3"/>
                      <a:pt x="219" y="4"/>
                    </a:cubicBezTo>
                    <a:cubicBezTo>
                      <a:pt x="219" y="4"/>
                      <a:pt x="219" y="4"/>
                      <a:pt x="219" y="4"/>
                    </a:cubicBezTo>
                    <a:cubicBezTo>
                      <a:pt x="219" y="5"/>
                      <a:pt x="219" y="7"/>
                      <a:pt x="219" y="8"/>
                    </a:cubicBezTo>
                    <a:cubicBezTo>
                      <a:pt x="219" y="8"/>
                      <a:pt x="219" y="8"/>
                      <a:pt x="219" y="8"/>
                    </a:cubicBezTo>
                    <a:cubicBezTo>
                      <a:pt x="148" y="134"/>
                      <a:pt x="148" y="134"/>
                      <a:pt x="148" y="134"/>
                    </a:cubicBezTo>
                    <a:cubicBezTo>
                      <a:pt x="147" y="135"/>
                      <a:pt x="146" y="136"/>
                      <a:pt x="144" y="136"/>
                    </a:cubicBezTo>
                    <a:cubicBezTo>
                      <a:pt x="144" y="136"/>
                      <a:pt x="144" y="136"/>
                      <a:pt x="144" y="136"/>
                    </a:cubicBezTo>
                    <a:cubicBezTo>
                      <a:pt x="4" y="136"/>
                      <a:pt x="4" y="136"/>
                      <a:pt x="4" y="1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" name="Freeform 19">
                <a:extLst>
                  <a:ext uri="{FF2B5EF4-FFF2-40B4-BE49-F238E27FC236}">
                    <a16:creationId xmlns:a16="http://schemas.microsoft.com/office/drawing/2014/main" id="{0D976F3F-D405-4A22-9EC7-1DA0BB50C0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0413" y="-355600"/>
                <a:ext cx="369888" cy="373063"/>
              </a:xfrm>
              <a:custGeom>
                <a:avLst/>
                <a:gdLst>
                  <a:gd name="T0" fmla="*/ 0 w 156"/>
                  <a:gd name="T1" fmla="*/ 78 h 157"/>
                  <a:gd name="T2" fmla="*/ 78 w 156"/>
                  <a:gd name="T3" fmla="*/ 0 h 157"/>
                  <a:gd name="T4" fmla="*/ 78 w 156"/>
                  <a:gd name="T5" fmla="*/ 0 h 157"/>
                  <a:gd name="T6" fmla="*/ 156 w 156"/>
                  <a:gd name="T7" fmla="*/ 78 h 157"/>
                  <a:gd name="T8" fmla="*/ 156 w 156"/>
                  <a:gd name="T9" fmla="*/ 78 h 157"/>
                  <a:gd name="T10" fmla="*/ 78 w 156"/>
                  <a:gd name="T11" fmla="*/ 157 h 157"/>
                  <a:gd name="T12" fmla="*/ 78 w 156"/>
                  <a:gd name="T13" fmla="*/ 157 h 157"/>
                  <a:gd name="T14" fmla="*/ 0 w 156"/>
                  <a:gd name="T15" fmla="*/ 78 h 157"/>
                  <a:gd name="T16" fmla="*/ 8 w 156"/>
                  <a:gd name="T17" fmla="*/ 78 h 157"/>
                  <a:gd name="T18" fmla="*/ 78 w 156"/>
                  <a:gd name="T19" fmla="*/ 149 h 157"/>
                  <a:gd name="T20" fmla="*/ 78 w 156"/>
                  <a:gd name="T21" fmla="*/ 149 h 157"/>
                  <a:gd name="T22" fmla="*/ 148 w 156"/>
                  <a:gd name="T23" fmla="*/ 78 h 157"/>
                  <a:gd name="T24" fmla="*/ 148 w 156"/>
                  <a:gd name="T25" fmla="*/ 78 h 157"/>
                  <a:gd name="T26" fmla="*/ 78 w 156"/>
                  <a:gd name="T27" fmla="*/ 8 h 157"/>
                  <a:gd name="T28" fmla="*/ 78 w 156"/>
                  <a:gd name="T29" fmla="*/ 8 h 157"/>
                  <a:gd name="T30" fmla="*/ 8 w 156"/>
                  <a:gd name="T31" fmla="*/ 78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6" h="157">
                    <a:moveTo>
                      <a:pt x="0" y="78"/>
                    </a:moveTo>
                    <a:cubicBezTo>
                      <a:pt x="0" y="35"/>
                      <a:pt x="35" y="0"/>
                      <a:pt x="7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121" y="0"/>
                      <a:pt x="156" y="35"/>
                      <a:pt x="156" y="78"/>
                    </a:cubicBezTo>
                    <a:cubicBezTo>
                      <a:pt x="156" y="78"/>
                      <a:pt x="156" y="78"/>
                      <a:pt x="156" y="78"/>
                    </a:cubicBezTo>
                    <a:cubicBezTo>
                      <a:pt x="156" y="122"/>
                      <a:pt x="121" y="157"/>
                      <a:pt x="78" y="157"/>
                    </a:cubicBezTo>
                    <a:cubicBezTo>
                      <a:pt x="78" y="157"/>
                      <a:pt x="78" y="157"/>
                      <a:pt x="78" y="157"/>
                    </a:cubicBezTo>
                    <a:cubicBezTo>
                      <a:pt x="35" y="157"/>
                      <a:pt x="0" y="122"/>
                      <a:pt x="0" y="78"/>
                    </a:cubicBezTo>
                    <a:close/>
                    <a:moveTo>
                      <a:pt x="8" y="78"/>
                    </a:moveTo>
                    <a:cubicBezTo>
                      <a:pt x="8" y="117"/>
                      <a:pt x="39" y="149"/>
                      <a:pt x="78" y="149"/>
                    </a:cubicBezTo>
                    <a:cubicBezTo>
                      <a:pt x="78" y="149"/>
                      <a:pt x="78" y="149"/>
                      <a:pt x="78" y="149"/>
                    </a:cubicBezTo>
                    <a:cubicBezTo>
                      <a:pt x="117" y="149"/>
                      <a:pt x="148" y="117"/>
                      <a:pt x="148" y="78"/>
                    </a:cubicBezTo>
                    <a:cubicBezTo>
                      <a:pt x="148" y="78"/>
                      <a:pt x="148" y="78"/>
                      <a:pt x="148" y="78"/>
                    </a:cubicBezTo>
                    <a:cubicBezTo>
                      <a:pt x="148" y="40"/>
                      <a:pt x="117" y="8"/>
                      <a:pt x="78" y="8"/>
                    </a:cubicBezTo>
                    <a:cubicBezTo>
                      <a:pt x="78" y="8"/>
                      <a:pt x="78" y="8"/>
                      <a:pt x="78" y="8"/>
                    </a:cubicBezTo>
                    <a:cubicBezTo>
                      <a:pt x="39" y="8"/>
                      <a:pt x="8" y="40"/>
                      <a:pt x="8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7611D172-0A1D-4018-BA5C-DFEF65965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7476" y="-355600"/>
                <a:ext cx="373063" cy="373063"/>
              </a:xfrm>
              <a:custGeom>
                <a:avLst/>
                <a:gdLst>
                  <a:gd name="T0" fmla="*/ 0 w 157"/>
                  <a:gd name="T1" fmla="*/ 78 h 157"/>
                  <a:gd name="T2" fmla="*/ 78 w 157"/>
                  <a:gd name="T3" fmla="*/ 0 h 157"/>
                  <a:gd name="T4" fmla="*/ 78 w 157"/>
                  <a:gd name="T5" fmla="*/ 0 h 157"/>
                  <a:gd name="T6" fmla="*/ 157 w 157"/>
                  <a:gd name="T7" fmla="*/ 78 h 157"/>
                  <a:gd name="T8" fmla="*/ 157 w 157"/>
                  <a:gd name="T9" fmla="*/ 78 h 157"/>
                  <a:gd name="T10" fmla="*/ 157 w 157"/>
                  <a:gd name="T11" fmla="*/ 78 h 157"/>
                  <a:gd name="T12" fmla="*/ 78 w 157"/>
                  <a:gd name="T13" fmla="*/ 157 h 157"/>
                  <a:gd name="T14" fmla="*/ 78 w 157"/>
                  <a:gd name="T15" fmla="*/ 157 h 157"/>
                  <a:gd name="T16" fmla="*/ 0 w 157"/>
                  <a:gd name="T17" fmla="*/ 78 h 157"/>
                  <a:gd name="T18" fmla="*/ 8 w 157"/>
                  <a:gd name="T19" fmla="*/ 78 h 157"/>
                  <a:gd name="T20" fmla="*/ 78 w 157"/>
                  <a:gd name="T21" fmla="*/ 149 h 157"/>
                  <a:gd name="T22" fmla="*/ 78 w 157"/>
                  <a:gd name="T23" fmla="*/ 149 h 157"/>
                  <a:gd name="T24" fmla="*/ 149 w 157"/>
                  <a:gd name="T25" fmla="*/ 78 h 157"/>
                  <a:gd name="T26" fmla="*/ 149 w 157"/>
                  <a:gd name="T27" fmla="*/ 78 h 157"/>
                  <a:gd name="T28" fmla="*/ 78 w 157"/>
                  <a:gd name="T29" fmla="*/ 8 h 157"/>
                  <a:gd name="T30" fmla="*/ 78 w 157"/>
                  <a:gd name="T31" fmla="*/ 8 h 157"/>
                  <a:gd name="T32" fmla="*/ 8 w 157"/>
                  <a:gd name="T33" fmla="*/ 78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7" h="157">
                    <a:moveTo>
                      <a:pt x="0" y="78"/>
                    </a:moveTo>
                    <a:cubicBezTo>
                      <a:pt x="0" y="35"/>
                      <a:pt x="35" y="0"/>
                      <a:pt x="7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122" y="0"/>
                      <a:pt x="157" y="35"/>
                      <a:pt x="157" y="78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7" y="122"/>
                      <a:pt x="122" y="157"/>
                      <a:pt x="78" y="157"/>
                    </a:cubicBezTo>
                    <a:cubicBezTo>
                      <a:pt x="78" y="157"/>
                      <a:pt x="78" y="157"/>
                      <a:pt x="78" y="157"/>
                    </a:cubicBezTo>
                    <a:cubicBezTo>
                      <a:pt x="35" y="157"/>
                      <a:pt x="0" y="122"/>
                      <a:pt x="0" y="78"/>
                    </a:cubicBezTo>
                    <a:close/>
                    <a:moveTo>
                      <a:pt x="8" y="78"/>
                    </a:moveTo>
                    <a:cubicBezTo>
                      <a:pt x="8" y="117"/>
                      <a:pt x="40" y="149"/>
                      <a:pt x="78" y="149"/>
                    </a:cubicBezTo>
                    <a:cubicBezTo>
                      <a:pt x="78" y="149"/>
                      <a:pt x="78" y="149"/>
                      <a:pt x="78" y="149"/>
                    </a:cubicBezTo>
                    <a:cubicBezTo>
                      <a:pt x="117" y="149"/>
                      <a:pt x="149" y="117"/>
                      <a:pt x="149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9" y="40"/>
                      <a:pt x="117" y="8"/>
                      <a:pt x="78" y="8"/>
                    </a:cubicBezTo>
                    <a:cubicBezTo>
                      <a:pt x="78" y="8"/>
                      <a:pt x="78" y="8"/>
                      <a:pt x="78" y="8"/>
                    </a:cubicBezTo>
                    <a:cubicBezTo>
                      <a:pt x="40" y="8"/>
                      <a:pt x="8" y="40"/>
                      <a:pt x="8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" name="Freeform 21">
                <a:extLst>
                  <a:ext uri="{FF2B5EF4-FFF2-40B4-BE49-F238E27FC236}">
                    <a16:creationId xmlns:a16="http://schemas.microsoft.com/office/drawing/2014/main" id="{7C77DB52-3FA1-4B75-AC01-73DB85B10F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8113" y="-557212"/>
                <a:ext cx="204788" cy="406400"/>
              </a:xfrm>
              <a:custGeom>
                <a:avLst/>
                <a:gdLst>
                  <a:gd name="T0" fmla="*/ 69 w 86"/>
                  <a:gd name="T1" fmla="*/ 168 h 171"/>
                  <a:gd name="T2" fmla="*/ 37 w 86"/>
                  <a:gd name="T3" fmla="*/ 102 h 171"/>
                  <a:gd name="T4" fmla="*/ 37 w 86"/>
                  <a:gd name="T5" fmla="*/ 102 h 171"/>
                  <a:gd name="T6" fmla="*/ 1 w 86"/>
                  <a:gd name="T7" fmla="*/ 29 h 171"/>
                  <a:gd name="T8" fmla="*/ 1 w 86"/>
                  <a:gd name="T9" fmla="*/ 29 h 171"/>
                  <a:gd name="T10" fmla="*/ 0 w 86"/>
                  <a:gd name="T11" fmla="*/ 26 h 171"/>
                  <a:gd name="T12" fmla="*/ 0 w 86"/>
                  <a:gd name="T13" fmla="*/ 26 h 171"/>
                  <a:gd name="T14" fmla="*/ 3 w 86"/>
                  <a:gd name="T15" fmla="*/ 23 h 171"/>
                  <a:gd name="T16" fmla="*/ 3 w 86"/>
                  <a:gd name="T17" fmla="*/ 23 h 171"/>
                  <a:gd name="T18" fmla="*/ 3 w 86"/>
                  <a:gd name="T19" fmla="*/ 22 h 171"/>
                  <a:gd name="T20" fmla="*/ 3 w 86"/>
                  <a:gd name="T21" fmla="*/ 22 h 171"/>
                  <a:gd name="T22" fmla="*/ 4 w 86"/>
                  <a:gd name="T23" fmla="*/ 22 h 171"/>
                  <a:gd name="T24" fmla="*/ 4 w 86"/>
                  <a:gd name="T25" fmla="*/ 22 h 171"/>
                  <a:gd name="T26" fmla="*/ 4 w 86"/>
                  <a:gd name="T27" fmla="*/ 22 h 171"/>
                  <a:gd name="T28" fmla="*/ 4 w 86"/>
                  <a:gd name="T29" fmla="*/ 22 h 171"/>
                  <a:gd name="T30" fmla="*/ 6 w 86"/>
                  <a:gd name="T31" fmla="*/ 22 h 171"/>
                  <a:gd name="T32" fmla="*/ 6 w 86"/>
                  <a:gd name="T33" fmla="*/ 22 h 171"/>
                  <a:gd name="T34" fmla="*/ 60 w 86"/>
                  <a:gd name="T35" fmla="*/ 23 h 171"/>
                  <a:gd name="T36" fmla="*/ 60 w 86"/>
                  <a:gd name="T37" fmla="*/ 23 h 171"/>
                  <a:gd name="T38" fmla="*/ 78 w 86"/>
                  <a:gd name="T39" fmla="*/ 2 h 171"/>
                  <a:gd name="T40" fmla="*/ 84 w 86"/>
                  <a:gd name="T41" fmla="*/ 2 h 171"/>
                  <a:gd name="T42" fmla="*/ 84 w 86"/>
                  <a:gd name="T43" fmla="*/ 2 h 171"/>
                  <a:gd name="T44" fmla="*/ 84 w 86"/>
                  <a:gd name="T45" fmla="*/ 8 h 171"/>
                  <a:gd name="T46" fmla="*/ 84 w 86"/>
                  <a:gd name="T47" fmla="*/ 8 h 171"/>
                  <a:gd name="T48" fmla="*/ 65 w 86"/>
                  <a:gd name="T49" fmla="*/ 30 h 171"/>
                  <a:gd name="T50" fmla="*/ 62 w 86"/>
                  <a:gd name="T51" fmla="*/ 32 h 171"/>
                  <a:gd name="T52" fmla="*/ 62 w 86"/>
                  <a:gd name="T53" fmla="*/ 32 h 171"/>
                  <a:gd name="T54" fmla="*/ 11 w 86"/>
                  <a:gd name="T55" fmla="*/ 30 h 171"/>
                  <a:gd name="T56" fmla="*/ 11 w 86"/>
                  <a:gd name="T57" fmla="*/ 30 h 171"/>
                  <a:gd name="T58" fmla="*/ 11 w 86"/>
                  <a:gd name="T59" fmla="*/ 31 h 171"/>
                  <a:gd name="T60" fmla="*/ 11 w 86"/>
                  <a:gd name="T61" fmla="*/ 31 h 171"/>
                  <a:gd name="T62" fmla="*/ 20 w 86"/>
                  <a:gd name="T63" fmla="*/ 47 h 171"/>
                  <a:gd name="T64" fmla="*/ 20 w 86"/>
                  <a:gd name="T65" fmla="*/ 47 h 171"/>
                  <a:gd name="T66" fmla="*/ 43 w 86"/>
                  <a:gd name="T67" fmla="*/ 95 h 171"/>
                  <a:gd name="T68" fmla="*/ 43 w 86"/>
                  <a:gd name="T69" fmla="*/ 95 h 171"/>
                  <a:gd name="T70" fmla="*/ 76 w 86"/>
                  <a:gd name="T71" fmla="*/ 165 h 171"/>
                  <a:gd name="T72" fmla="*/ 76 w 86"/>
                  <a:gd name="T73" fmla="*/ 165 h 171"/>
                  <a:gd name="T74" fmla="*/ 77 w 86"/>
                  <a:gd name="T75" fmla="*/ 165 h 171"/>
                  <a:gd name="T76" fmla="*/ 75 w 86"/>
                  <a:gd name="T77" fmla="*/ 170 h 171"/>
                  <a:gd name="T78" fmla="*/ 75 w 86"/>
                  <a:gd name="T79" fmla="*/ 170 h 171"/>
                  <a:gd name="T80" fmla="*/ 73 w 86"/>
                  <a:gd name="T81" fmla="*/ 171 h 171"/>
                  <a:gd name="T82" fmla="*/ 73 w 86"/>
                  <a:gd name="T83" fmla="*/ 171 h 171"/>
                  <a:gd name="T84" fmla="*/ 69 w 86"/>
                  <a:gd name="T85" fmla="*/ 168 h 171"/>
                  <a:gd name="T86" fmla="*/ 7 w 86"/>
                  <a:gd name="T87" fmla="*/ 23 h 171"/>
                  <a:gd name="T88" fmla="*/ 7 w 86"/>
                  <a:gd name="T89" fmla="*/ 23 h 171"/>
                  <a:gd name="T90" fmla="*/ 7 w 86"/>
                  <a:gd name="T91" fmla="*/ 23 h 171"/>
                  <a:gd name="T92" fmla="*/ 7 w 86"/>
                  <a:gd name="T93" fmla="*/ 23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6" h="171">
                    <a:moveTo>
                      <a:pt x="69" y="168"/>
                    </a:moveTo>
                    <a:cubicBezTo>
                      <a:pt x="69" y="168"/>
                      <a:pt x="54" y="136"/>
                      <a:pt x="37" y="102"/>
                    </a:cubicBezTo>
                    <a:cubicBezTo>
                      <a:pt x="37" y="102"/>
                      <a:pt x="37" y="102"/>
                      <a:pt x="37" y="102"/>
                    </a:cubicBezTo>
                    <a:cubicBezTo>
                      <a:pt x="21" y="69"/>
                      <a:pt x="4" y="34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0" y="28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" y="23"/>
                      <a:pt x="2" y="23"/>
                      <a:pt x="3" y="2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22"/>
                      <a:pt x="5" y="22"/>
                      <a:pt x="6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13" y="22"/>
                      <a:pt x="51" y="23"/>
                      <a:pt x="60" y="23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80" y="1"/>
                      <a:pt x="82" y="0"/>
                      <a:pt x="84" y="2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6" y="3"/>
                      <a:pt x="86" y="6"/>
                      <a:pt x="84" y="8"/>
                    </a:cubicBezTo>
                    <a:cubicBezTo>
                      <a:pt x="84" y="8"/>
                      <a:pt x="84" y="8"/>
                      <a:pt x="84" y="8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4" y="31"/>
                      <a:pt x="63" y="32"/>
                      <a:pt x="62" y="32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2" y="32"/>
                      <a:pt x="27" y="31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4" y="35"/>
                      <a:pt x="16" y="40"/>
                      <a:pt x="20" y="47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26" y="60"/>
                      <a:pt x="35" y="77"/>
                      <a:pt x="43" y="95"/>
                    </a:cubicBezTo>
                    <a:cubicBezTo>
                      <a:pt x="43" y="95"/>
                      <a:pt x="43" y="95"/>
                      <a:pt x="43" y="95"/>
                    </a:cubicBezTo>
                    <a:cubicBezTo>
                      <a:pt x="60" y="130"/>
                      <a:pt x="76" y="165"/>
                      <a:pt x="76" y="165"/>
                    </a:cubicBezTo>
                    <a:cubicBezTo>
                      <a:pt x="76" y="165"/>
                      <a:pt x="76" y="165"/>
                      <a:pt x="76" y="165"/>
                    </a:cubicBezTo>
                    <a:cubicBezTo>
                      <a:pt x="77" y="165"/>
                      <a:pt x="77" y="165"/>
                      <a:pt x="77" y="165"/>
                    </a:cubicBezTo>
                    <a:cubicBezTo>
                      <a:pt x="77" y="167"/>
                      <a:pt x="77" y="169"/>
                      <a:pt x="75" y="170"/>
                    </a:cubicBezTo>
                    <a:cubicBezTo>
                      <a:pt x="75" y="170"/>
                      <a:pt x="75" y="170"/>
                      <a:pt x="75" y="170"/>
                    </a:cubicBezTo>
                    <a:cubicBezTo>
                      <a:pt x="74" y="171"/>
                      <a:pt x="73" y="171"/>
                      <a:pt x="73" y="171"/>
                    </a:cubicBezTo>
                    <a:cubicBezTo>
                      <a:pt x="73" y="171"/>
                      <a:pt x="73" y="171"/>
                      <a:pt x="73" y="171"/>
                    </a:cubicBezTo>
                    <a:cubicBezTo>
                      <a:pt x="71" y="171"/>
                      <a:pt x="70" y="170"/>
                      <a:pt x="69" y="168"/>
                    </a:cubicBezTo>
                    <a:close/>
                    <a:moveTo>
                      <a:pt x="7" y="23"/>
                    </a:moveTo>
                    <a:cubicBezTo>
                      <a:pt x="7" y="23"/>
                      <a:pt x="7" y="23"/>
                      <a:pt x="7" y="23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3"/>
                      <a:pt x="7" y="23"/>
                      <a:pt x="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" name="Freeform 22">
                <a:extLst>
                  <a:ext uri="{FF2B5EF4-FFF2-40B4-BE49-F238E27FC236}">
                    <a16:creationId xmlns:a16="http://schemas.microsoft.com/office/drawing/2014/main" id="{C398FBFD-A749-49E2-80E6-FC959250D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-481012"/>
                <a:ext cx="100013" cy="23813"/>
              </a:xfrm>
              <a:custGeom>
                <a:avLst/>
                <a:gdLst>
                  <a:gd name="T0" fmla="*/ 38 w 42"/>
                  <a:gd name="T1" fmla="*/ 10 h 10"/>
                  <a:gd name="T2" fmla="*/ 4 w 42"/>
                  <a:gd name="T3" fmla="*/ 9 h 10"/>
                  <a:gd name="T4" fmla="*/ 0 w 42"/>
                  <a:gd name="T5" fmla="*/ 4 h 10"/>
                  <a:gd name="T6" fmla="*/ 0 w 42"/>
                  <a:gd name="T7" fmla="*/ 4 h 10"/>
                  <a:gd name="T8" fmla="*/ 4 w 42"/>
                  <a:gd name="T9" fmla="*/ 0 h 10"/>
                  <a:gd name="T10" fmla="*/ 4 w 42"/>
                  <a:gd name="T11" fmla="*/ 0 h 10"/>
                  <a:gd name="T12" fmla="*/ 38 w 42"/>
                  <a:gd name="T13" fmla="*/ 1 h 10"/>
                  <a:gd name="T14" fmla="*/ 42 w 42"/>
                  <a:gd name="T15" fmla="*/ 6 h 10"/>
                  <a:gd name="T16" fmla="*/ 42 w 42"/>
                  <a:gd name="T17" fmla="*/ 6 h 10"/>
                  <a:gd name="T18" fmla="*/ 38 w 42"/>
                  <a:gd name="T19" fmla="*/ 10 h 10"/>
                  <a:gd name="T20" fmla="*/ 38 w 42"/>
                  <a:gd name="T21" fmla="*/ 10 h 10"/>
                  <a:gd name="T22" fmla="*/ 38 w 42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10">
                    <a:moveTo>
                      <a:pt x="38" y="10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40" y="1"/>
                      <a:pt x="42" y="3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8"/>
                      <a:pt x="40" y="10"/>
                      <a:pt x="38" y="10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8" y="10"/>
                      <a:pt x="38" y="10"/>
                      <a:pt x="3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" name="Freeform 23">
                <a:extLst>
                  <a:ext uri="{FF2B5EF4-FFF2-40B4-BE49-F238E27FC236}">
                    <a16:creationId xmlns:a16="http://schemas.microsoft.com/office/drawing/2014/main" id="{E57EEA77-C995-4924-AD54-C7C8CBC587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7751" y="-642937"/>
                <a:ext cx="268288" cy="477838"/>
              </a:xfrm>
              <a:custGeom>
                <a:avLst/>
                <a:gdLst>
                  <a:gd name="T0" fmla="*/ 65 w 113"/>
                  <a:gd name="T1" fmla="*/ 39 h 201"/>
                  <a:gd name="T2" fmla="*/ 63 w 113"/>
                  <a:gd name="T3" fmla="*/ 38 h 201"/>
                  <a:gd name="T4" fmla="*/ 63 w 113"/>
                  <a:gd name="T5" fmla="*/ 34 h 201"/>
                  <a:gd name="T6" fmla="*/ 57 w 113"/>
                  <a:gd name="T7" fmla="*/ 25 h 201"/>
                  <a:gd name="T8" fmla="*/ 57 w 113"/>
                  <a:gd name="T9" fmla="*/ 25 h 201"/>
                  <a:gd name="T10" fmla="*/ 57 w 113"/>
                  <a:gd name="T11" fmla="*/ 24 h 201"/>
                  <a:gd name="T12" fmla="*/ 51 w 113"/>
                  <a:gd name="T13" fmla="*/ 22 h 201"/>
                  <a:gd name="T14" fmla="*/ 37 w 113"/>
                  <a:gd name="T15" fmla="*/ 19 h 201"/>
                  <a:gd name="T16" fmla="*/ 23 w 113"/>
                  <a:gd name="T17" fmla="*/ 16 h 201"/>
                  <a:gd name="T18" fmla="*/ 25 w 113"/>
                  <a:gd name="T19" fmla="*/ 0 h 201"/>
                  <a:gd name="T20" fmla="*/ 15 w 113"/>
                  <a:gd name="T21" fmla="*/ 6 h 201"/>
                  <a:gd name="T22" fmla="*/ 8 w 113"/>
                  <a:gd name="T23" fmla="*/ 15 h 201"/>
                  <a:gd name="T24" fmla="*/ 2 w 113"/>
                  <a:gd name="T25" fmla="*/ 32 h 201"/>
                  <a:gd name="T26" fmla="*/ 11 w 113"/>
                  <a:gd name="T27" fmla="*/ 64 h 201"/>
                  <a:gd name="T28" fmla="*/ 46 w 113"/>
                  <a:gd name="T29" fmla="*/ 90 h 201"/>
                  <a:gd name="T30" fmla="*/ 69 w 113"/>
                  <a:gd name="T31" fmla="*/ 111 h 201"/>
                  <a:gd name="T32" fmla="*/ 77 w 113"/>
                  <a:gd name="T33" fmla="*/ 139 h 201"/>
                  <a:gd name="T34" fmla="*/ 64 w 113"/>
                  <a:gd name="T35" fmla="*/ 195 h 201"/>
                  <a:gd name="T36" fmla="*/ 62 w 113"/>
                  <a:gd name="T37" fmla="*/ 200 h 201"/>
                  <a:gd name="T38" fmla="*/ 62 w 113"/>
                  <a:gd name="T39" fmla="*/ 200 h 201"/>
                  <a:gd name="T40" fmla="*/ 62 w 113"/>
                  <a:gd name="T41" fmla="*/ 201 h 201"/>
                  <a:gd name="T42" fmla="*/ 86 w 113"/>
                  <a:gd name="T43" fmla="*/ 201 h 201"/>
                  <a:gd name="T44" fmla="*/ 86 w 113"/>
                  <a:gd name="T45" fmla="*/ 200 h 201"/>
                  <a:gd name="T46" fmla="*/ 100 w 113"/>
                  <a:gd name="T47" fmla="*/ 172 h 201"/>
                  <a:gd name="T48" fmla="*/ 111 w 113"/>
                  <a:gd name="T49" fmla="*/ 114 h 201"/>
                  <a:gd name="T50" fmla="*/ 101 w 113"/>
                  <a:gd name="T51" fmla="*/ 85 h 201"/>
                  <a:gd name="T52" fmla="*/ 71 w 113"/>
                  <a:gd name="T53" fmla="*/ 43 h 201"/>
                  <a:gd name="T54" fmla="*/ 65 w 113"/>
                  <a:gd name="T55" fmla="*/ 3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3" h="201">
                    <a:moveTo>
                      <a:pt x="65" y="39"/>
                    </a:moveTo>
                    <a:cubicBezTo>
                      <a:pt x="64" y="39"/>
                      <a:pt x="63" y="38"/>
                      <a:pt x="63" y="38"/>
                    </a:cubicBezTo>
                    <a:cubicBezTo>
                      <a:pt x="63" y="37"/>
                      <a:pt x="60" y="23"/>
                      <a:pt x="63" y="34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5"/>
                      <a:pt x="57" y="24"/>
                      <a:pt x="57" y="24"/>
                    </a:cubicBezTo>
                    <a:cubicBezTo>
                      <a:pt x="55" y="23"/>
                      <a:pt x="52" y="23"/>
                      <a:pt x="51" y="22"/>
                    </a:cubicBezTo>
                    <a:cubicBezTo>
                      <a:pt x="46" y="21"/>
                      <a:pt x="42" y="20"/>
                      <a:pt x="37" y="19"/>
                    </a:cubicBezTo>
                    <a:cubicBezTo>
                      <a:pt x="32" y="18"/>
                      <a:pt x="27" y="17"/>
                      <a:pt x="23" y="16"/>
                    </a:cubicBezTo>
                    <a:cubicBezTo>
                      <a:pt x="19" y="15"/>
                      <a:pt x="28" y="1"/>
                      <a:pt x="25" y="0"/>
                    </a:cubicBezTo>
                    <a:cubicBezTo>
                      <a:pt x="24" y="0"/>
                      <a:pt x="15" y="5"/>
                      <a:pt x="15" y="6"/>
                    </a:cubicBezTo>
                    <a:cubicBezTo>
                      <a:pt x="13" y="7"/>
                      <a:pt x="9" y="13"/>
                      <a:pt x="8" y="15"/>
                    </a:cubicBezTo>
                    <a:cubicBezTo>
                      <a:pt x="5" y="20"/>
                      <a:pt x="2" y="27"/>
                      <a:pt x="2" y="32"/>
                    </a:cubicBezTo>
                    <a:cubicBezTo>
                      <a:pt x="0" y="44"/>
                      <a:pt x="3" y="55"/>
                      <a:pt x="11" y="64"/>
                    </a:cubicBezTo>
                    <a:cubicBezTo>
                      <a:pt x="21" y="75"/>
                      <a:pt x="34" y="82"/>
                      <a:pt x="46" y="90"/>
                    </a:cubicBezTo>
                    <a:cubicBezTo>
                      <a:pt x="55" y="96"/>
                      <a:pt x="63" y="102"/>
                      <a:pt x="69" y="111"/>
                    </a:cubicBezTo>
                    <a:cubicBezTo>
                      <a:pt x="75" y="119"/>
                      <a:pt x="77" y="129"/>
                      <a:pt x="77" y="139"/>
                    </a:cubicBezTo>
                    <a:cubicBezTo>
                      <a:pt x="77" y="158"/>
                      <a:pt x="71" y="177"/>
                      <a:pt x="64" y="195"/>
                    </a:cubicBezTo>
                    <a:cubicBezTo>
                      <a:pt x="63" y="197"/>
                      <a:pt x="63" y="198"/>
                      <a:pt x="62" y="200"/>
                    </a:cubicBezTo>
                    <a:cubicBezTo>
                      <a:pt x="62" y="200"/>
                      <a:pt x="62" y="200"/>
                      <a:pt x="62" y="200"/>
                    </a:cubicBezTo>
                    <a:cubicBezTo>
                      <a:pt x="62" y="201"/>
                      <a:pt x="62" y="201"/>
                      <a:pt x="62" y="201"/>
                    </a:cubicBezTo>
                    <a:cubicBezTo>
                      <a:pt x="86" y="201"/>
                      <a:pt x="86" y="201"/>
                      <a:pt x="86" y="201"/>
                    </a:cubicBezTo>
                    <a:cubicBezTo>
                      <a:pt x="86" y="200"/>
                      <a:pt x="86" y="200"/>
                      <a:pt x="86" y="200"/>
                    </a:cubicBezTo>
                    <a:cubicBezTo>
                      <a:pt x="92" y="192"/>
                      <a:pt x="96" y="182"/>
                      <a:pt x="100" y="172"/>
                    </a:cubicBezTo>
                    <a:cubicBezTo>
                      <a:pt x="107" y="153"/>
                      <a:pt x="113" y="134"/>
                      <a:pt x="111" y="114"/>
                    </a:cubicBezTo>
                    <a:cubicBezTo>
                      <a:pt x="109" y="104"/>
                      <a:pt x="106" y="94"/>
                      <a:pt x="101" y="85"/>
                    </a:cubicBezTo>
                    <a:cubicBezTo>
                      <a:pt x="94" y="74"/>
                      <a:pt x="81" y="52"/>
                      <a:pt x="71" y="43"/>
                    </a:cubicBezTo>
                    <a:cubicBezTo>
                      <a:pt x="68" y="40"/>
                      <a:pt x="68" y="42"/>
                      <a:pt x="65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" name="Rectangle 24">
                <a:extLst>
                  <a:ext uri="{FF2B5EF4-FFF2-40B4-BE49-F238E27FC236}">
                    <a16:creationId xmlns:a16="http://schemas.microsoft.com/office/drawing/2014/main" id="{0A3CA6A7-5939-48B5-AFBE-375EDE2BAD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351" y="-790575"/>
                <a:ext cx="1588" cy="15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" name="Freeform 25">
                <a:extLst>
                  <a:ext uri="{FF2B5EF4-FFF2-40B4-BE49-F238E27FC236}">
                    <a16:creationId xmlns:a16="http://schemas.microsoft.com/office/drawing/2014/main" id="{57A5F550-8C39-4B70-B120-15C5E3FCE0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06801" y="-809625"/>
                <a:ext cx="368300" cy="277813"/>
              </a:xfrm>
              <a:custGeom>
                <a:avLst/>
                <a:gdLst>
                  <a:gd name="T0" fmla="*/ 154 w 155"/>
                  <a:gd name="T1" fmla="*/ 22 h 117"/>
                  <a:gd name="T2" fmla="*/ 128 w 155"/>
                  <a:gd name="T3" fmla="*/ 2 h 117"/>
                  <a:gd name="T4" fmla="*/ 70 w 155"/>
                  <a:gd name="T5" fmla="*/ 21 h 117"/>
                  <a:gd name="T6" fmla="*/ 49 w 155"/>
                  <a:gd name="T7" fmla="*/ 36 h 117"/>
                  <a:gd name="T8" fmla="*/ 25 w 155"/>
                  <a:gd name="T9" fmla="*/ 55 h 117"/>
                  <a:gd name="T10" fmla="*/ 0 w 155"/>
                  <a:gd name="T11" fmla="*/ 85 h 117"/>
                  <a:gd name="T12" fmla="*/ 56 w 155"/>
                  <a:gd name="T13" fmla="*/ 117 h 117"/>
                  <a:gd name="T14" fmla="*/ 56 w 155"/>
                  <a:gd name="T15" fmla="*/ 117 h 117"/>
                  <a:gd name="T16" fmla="*/ 98 w 155"/>
                  <a:gd name="T17" fmla="*/ 85 h 117"/>
                  <a:gd name="T18" fmla="*/ 149 w 155"/>
                  <a:gd name="T19" fmla="*/ 43 h 117"/>
                  <a:gd name="T20" fmla="*/ 154 w 155"/>
                  <a:gd name="T21" fmla="*/ 22 h 117"/>
                  <a:gd name="T22" fmla="*/ 142 w 155"/>
                  <a:gd name="T23" fmla="*/ 8 h 117"/>
                  <a:gd name="T24" fmla="*/ 142 w 155"/>
                  <a:gd name="T25" fmla="*/ 8 h 117"/>
                  <a:gd name="T26" fmla="*/ 142 w 155"/>
                  <a:gd name="T27" fmla="*/ 8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5" h="117">
                    <a:moveTo>
                      <a:pt x="154" y="22"/>
                    </a:moveTo>
                    <a:cubicBezTo>
                      <a:pt x="152" y="12"/>
                      <a:pt x="142" y="4"/>
                      <a:pt x="128" y="2"/>
                    </a:cubicBezTo>
                    <a:cubicBezTo>
                      <a:pt x="107" y="0"/>
                      <a:pt x="87" y="9"/>
                      <a:pt x="70" y="21"/>
                    </a:cubicBezTo>
                    <a:cubicBezTo>
                      <a:pt x="63" y="26"/>
                      <a:pt x="56" y="31"/>
                      <a:pt x="49" y="36"/>
                    </a:cubicBezTo>
                    <a:cubicBezTo>
                      <a:pt x="41" y="42"/>
                      <a:pt x="33" y="48"/>
                      <a:pt x="25" y="55"/>
                    </a:cubicBezTo>
                    <a:cubicBezTo>
                      <a:pt x="16" y="64"/>
                      <a:pt x="7" y="74"/>
                      <a:pt x="0" y="85"/>
                    </a:cubicBezTo>
                    <a:cubicBezTo>
                      <a:pt x="56" y="117"/>
                      <a:pt x="56" y="117"/>
                      <a:pt x="56" y="117"/>
                    </a:cubicBezTo>
                    <a:cubicBezTo>
                      <a:pt x="56" y="117"/>
                      <a:pt x="56" y="117"/>
                      <a:pt x="56" y="117"/>
                    </a:cubicBezTo>
                    <a:cubicBezTo>
                      <a:pt x="68" y="106"/>
                      <a:pt x="88" y="93"/>
                      <a:pt x="98" y="85"/>
                    </a:cubicBezTo>
                    <a:cubicBezTo>
                      <a:pt x="115" y="71"/>
                      <a:pt x="135" y="61"/>
                      <a:pt x="149" y="43"/>
                    </a:cubicBezTo>
                    <a:cubicBezTo>
                      <a:pt x="154" y="36"/>
                      <a:pt x="155" y="28"/>
                      <a:pt x="154" y="22"/>
                    </a:cubicBezTo>
                    <a:close/>
                    <a:moveTo>
                      <a:pt x="142" y="8"/>
                    </a:moveTo>
                    <a:cubicBezTo>
                      <a:pt x="142" y="8"/>
                      <a:pt x="142" y="8"/>
                      <a:pt x="142" y="8"/>
                    </a:cubicBezTo>
                    <a:cubicBezTo>
                      <a:pt x="142" y="8"/>
                      <a:pt x="142" y="8"/>
                      <a:pt x="14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126AB9C3-07CB-4CBB-BEA1-16DA45C8B5F9}"/>
                </a:ext>
              </a:extLst>
            </p:cNvPr>
            <p:cNvGrpSpPr/>
            <p:nvPr/>
          </p:nvGrpSpPr>
          <p:grpSpPr>
            <a:xfrm>
              <a:off x="9359901" y="5393904"/>
              <a:ext cx="782637" cy="679450"/>
              <a:chOff x="7912101" y="-682625"/>
              <a:chExt cx="782637" cy="679450"/>
            </a:xfrm>
            <a:solidFill>
              <a:schemeClr val="bg1"/>
            </a:solidFill>
          </p:grpSpPr>
          <p:sp>
            <p:nvSpPr>
              <p:cNvPr id="72" name="Freeform 26">
                <a:extLst>
                  <a:ext uri="{FF2B5EF4-FFF2-40B4-BE49-F238E27FC236}">
                    <a16:creationId xmlns:a16="http://schemas.microsoft.com/office/drawing/2014/main" id="{A06B7AE6-79D9-4434-B73A-99D0E6380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7351" y="-139700"/>
                <a:ext cx="684213" cy="136525"/>
              </a:xfrm>
              <a:custGeom>
                <a:avLst/>
                <a:gdLst>
                  <a:gd name="T0" fmla="*/ 249 w 288"/>
                  <a:gd name="T1" fmla="*/ 4 h 57"/>
                  <a:gd name="T2" fmla="*/ 230 w 288"/>
                  <a:gd name="T3" fmla="*/ 11 h 57"/>
                  <a:gd name="T4" fmla="*/ 216 w 288"/>
                  <a:gd name="T5" fmla="*/ 25 h 57"/>
                  <a:gd name="T6" fmla="*/ 204 w 288"/>
                  <a:gd name="T7" fmla="*/ 18 h 57"/>
                  <a:gd name="T8" fmla="*/ 191 w 288"/>
                  <a:gd name="T9" fmla="*/ 7 h 57"/>
                  <a:gd name="T10" fmla="*/ 167 w 288"/>
                  <a:gd name="T11" fmla="*/ 8 h 57"/>
                  <a:gd name="T12" fmla="*/ 149 w 288"/>
                  <a:gd name="T13" fmla="*/ 24 h 57"/>
                  <a:gd name="T14" fmla="*/ 134 w 288"/>
                  <a:gd name="T15" fmla="*/ 16 h 57"/>
                  <a:gd name="T16" fmla="*/ 124 w 288"/>
                  <a:gd name="T17" fmla="*/ 8 h 57"/>
                  <a:gd name="T18" fmla="*/ 84 w 288"/>
                  <a:gd name="T19" fmla="*/ 19 h 57"/>
                  <a:gd name="T20" fmla="*/ 72 w 288"/>
                  <a:gd name="T21" fmla="*/ 24 h 57"/>
                  <a:gd name="T22" fmla="*/ 52 w 288"/>
                  <a:gd name="T23" fmla="*/ 8 h 57"/>
                  <a:gd name="T24" fmla="*/ 26 w 288"/>
                  <a:gd name="T25" fmla="*/ 9 h 57"/>
                  <a:gd name="T26" fmla="*/ 1 w 288"/>
                  <a:gd name="T27" fmla="*/ 23 h 57"/>
                  <a:gd name="T28" fmla="*/ 1 w 288"/>
                  <a:gd name="T29" fmla="*/ 42 h 57"/>
                  <a:gd name="T30" fmla="*/ 1 w 288"/>
                  <a:gd name="T31" fmla="*/ 54 h 57"/>
                  <a:gd name="T32" fmla="*/ 9 w 288"/>
                  <a:gd name="T33" fmla="*/ 55 h 57"/>
                  <a:gd name="T34" fmla="*/ 22 w 288"/>
                  <a:gd name="T35" fmla="*/ 49 h 57"/>
                  <a:gd name="T36" fmla="*/ 41 w 288"/>
                  <a:gd name="T37" fmla="*/ 37 h 57"/>
                  <a:gd name="T38" fmla="*/ 57 w 288"/>
                  <a:gd name="T39" fmla="*/ 46 h 57"/>
                  <a:gd name="T40" fmla="*/ 65 w 288"/>
                  <a:gd name="T41" fmla="*/ 52 h 57"/>
                  <a:gd name="T42" fmla="*/ 90 w 288"/>
                  <a:gd name="T43" fmla="*/ 50 h 57"/>
                  <a:gd name="T44" fmla="*/ 102 w 288"/>
                  <a:gd name="T45" fmla="*/ 40 h 57"/>
                  <a:gd name="T46" fmla="*/ 113 w 288"/>
                  <a:gd name="T47" fmla="*/ 35 h 57"/>
                  <a:gd name="T48" fmla="*/ 121 w 288"/>
                  <a:gd name="T49" fmla="*/ 44 h 57"/>
                  <a:gd name="T50" fmla="*/ 154 w 288"/>
                  <a:gd name="T51" fmla="*/ 52 h 57"/>
                  <a:gd name="T52" fmla="*/ 170 w 288"/>
                  <a:gd name="T53" fmla="*/ 42 h 57"/>
                  <a:gd name="T54" fmla="*/ 185 w 288"/>
                  <a:gd name="T55" fmla="*/ 38 h 57"/>
                  <a:gd name="T56" fmla="*/ 214 w 288"/>
                  <a:gd name="T57" fmla="*/ 55 h 57"/>
                  <a:gd name="T58" fmla="*/ 234 w 288"/>
                  <a:gd name="T59" fmla="*/ 46 h 57"/>
                  <a:gd name="T60" fmla="*/ 247 w 288"/>
                  <a:gd name="T61" fmla="*/ 35 h 57"/>
                  <a:gd name="T62" fmla="*/ 259 w 288"/>
                  <a:gd name="T63" fmla="*/ 42 h 57"/>
                  <a:gd name="T64" fmla="*/ 284 w 288"/>
                  <a:gd name="T65" fmla="*/ 55 h 57"/>
                  <a:gd name="T66" fmla="*/ 288 w 288"/>
                  <a:gd name="T67" fmla="*/ 55 h 57"/>
                  <a:gd name="T68" fmla="*/ 288 w 288"/>
                  <a:gd name="T69" fmla="*/ 50 h 57"/>
                  <a:gd name="T70" fmla="*/ 288 w 288"/>
                  <a:gd name="T71" fmla="*/ 25 h 57"/>
                  <a:gd name="T72" fmla="*/ 281 w 288"/>
                  <a:gd name="T73" fmla="*/ 25 h 57"/>
                  <a:gd name="T74" fmla="*/ 268 w 288"/>
                  <a:gd name="T75" fmla="*/ 11 h 57"/>
                  <a:gd name="T76" fmla="*/ 249 w 288"/>
                  <a:gd name="T77" fmla="*/ 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8" h="57">
                    <a:moveTo>
                      <a:pt x="249" y="4"/>
                    </a:moveTo>
                    <a:cubicBezTo>
                      <a:pt x="242" y="4"/>
                      <a:pt x="235" y="7"/>
                      <a:pt x="230" y="11"/>
                    </a:cubicBezTo>
                    <a:cubicBezTo>
                      <a:pt x="225" y="16"/>
                      <a:pt x="222" y="23"/>
                      <a:pt x="216" y="25"/>
                    </a:cubicBezTo>
                    <a:cubicBezTo>
                      <a:pt x="211" y="27"/>
                      <a:pt x="207" y="22"/>
                      <a:pt x="204" y="18"/>
                    </a:cubicBezTo>
                    <a:cubicBezTo>
                      <a:pt x="200" y="14"/>
                      <a:pt x="196" y="10"/>
                      <a:pt x="191" y="7"/>
                    </a:cubicBezTo>
                    <a:cubicBezTo>
                      <a:pt x="183" y="4"/>
                      <a:pt x="175" y="4"/>
                      <a:pt x="167" y="8"/>
                    </a:cubicBezTo>
                    <a:cubicBezTo>
                      <a:pt x="160" y="11"/>
                      <a:pt x="156" y="19"/>
                      <a:pt x="149" y="24"/>
                    </a:cubicBezTo>
                    <a:cubicBezTo>
                      <a:pt x="143" y="29"/>
                      <a:pt x="137" y="20"/>
                      <a:pt x="134" y="16"/>
                    </a:cubicBezTo>
                    <a:cubicBezTo>
                      <a:pt x="131" y="13"/>
                      <a:pt x="128" y="10"/>
                      <a:pt x="124" y="8"/>
                    </a:cubicBezTo>
                    <a:cubicBezTo>
                      <a:pt x="109" y="0"/>
                      <a:pt x="94" y="7"/>
                      <a:pt x="84" y="19"/>
                    </a:cubicBezTo>
                    <a:cubicBezTo>
                      <a:pt x="81" y="22"/>
                      <a:pt x="77" y="26"/>
                      <a:pt x="72" y="24"/>
                    </a:cubicBezTo>
                    <a:cubicBezTo>
                      <a:pt x="64" y="21"/>
                      <a:pt x="60" y="11"/>
                      <a:pt x="52" y="8"/>
                    </a:cubicBezTo>
                    <a:cubicBezTo>
                      <a:pt x="43" y="4"/>
                      <a:pt x="34" y="4"/>
                      <a:pt x="26" y="9"/>
                    </a:cubicBezTo>
                    <a:cubicBezTo>
                      <a:pt x="18" y="14"/>
                      <a:pt x="12" y="25"/>
                      <a:pt x="1" y="23"/>
                    </a:cubicBezTo>
                    <a:cubicBezTo>
                      <a:pt x="0" y="30"/>
                      <a:pt x="0" y="33"/>
                      <a:pt x="1" y="42"/>
                    </a:cubicBezTo>
                    <a:cubicBezTo>
                      <a:pt x="1" y="44"/>
                      <a:pt x="1" y="50"/>
                      <a:pt x="1" y="54"/>
                    </a:cubicBezTo>
                    <a:cubicBezTo>
                      <a:pt x="2" y="57"/>
                      <a:pt x="7" y="56"/>
                      <a:pt x="9" y="55"/>
                    </a:cubicBezTo>
                    <a:cubicBezTo>
                      <a:pt x="13" y="54"/>
                      <a:pt x="19" y="51"/>
                      <a:pt x="22" y="49"/>
                    </a:cubicBezTo>
                    <a:cubicBezTo>
                      <a:pt x="28" y="45"/>
                      <a:pt x="32" y="36"/>
                      <a:pt x="41" y="37"/>
                    </a:cubicBezTo>
                    <a:cubicBezTo>
                      <a:pt x="47" y="37"/>
                      <a:pt x="52" y="42"/>
                      <a:pt x="57" y="46"/>
                    </a:cubicBezTo>
                    <a:cubicBezTo>
                      <a:pt x="59" y="48"/>
                      <a:pt x="62" y="51"/>
                      <a:pt x="65" y="52"/>
                    </a:cubicBezTo>
                    <a:cubicBezTo>
                      <a:pt x="74" y="57"/>
                      <a:pt x="82" y="54"/>
                      <a:pt x="90" y="50"/>
                    </a:cubicBezTo>
                    <a:cubicBezTo>
                      <a:pt x="95" y="47"/>
                      <a:pt x="98" y="43"/>
                      <a:pt x="102" y="40"/>
                    </a:cubicBezTo>
                    <a:cubicBezTo>
                      <a:pt x="104" y="37"/>
                      <a:pt x="109" y="32"/>
                      <a:pt x="113" y="35"/>
                    </a:cubicBezTo>
                    <a:cubicBezTo>
                      <a:pt x="117" y="37"/>
                      <a:pt x="119" y="41"/>
                      <a:pt x="121" y="44"/>
                    </a:cubicBezTo>
                    <a:cubicBezTo>
                      <a:pt x="130" y="53"/>
                      <a:pt x="143" y="57"/>
                      <a:pt x="154" y="52"/>
                    </a:cubicBezTo>
                    <a:cubicBezTo>
                      <a:pt x="160" y="50"/>
                      <a:pt x="166" y="47"/>
                      <a:pt x="170" y="42"/>
                    </a:cubicBezTo>
                    <a:cubicBezTo>
                      <a:pt x="174" y="38"/>
                      <a:pt x="179" y="32"/>
                      <a:pt x="185" y="38"/>
                    </a:cubicBezTo>
                    <a:cubicBezTo>
                      <a:pt x="193" y="46"/>
                      <a:pt x="201" y="55"/>
                      <a:pt x="214" y="55"/>
                    </a:cubicBezTo>
                    <a:cubicBezTo>
                      <a:pt x="222" y="55"/>
                      <a:pt x="228" y="51"/>
                      <a:pt x="234" y="46"/>
                    </a:cubicBezTo>
                    <a:cubicBezTo>
                      <a:pt x="238" y="43"/>
                      <a:pt x="241" y="36"/>
                      <a:pt x="247" y="35"/>
                    </a:cubicBezTo>
                    <a:cubicBezTo>
                      <a:pt x="252" y="33"/>
                      <a:pt x="256" y="38"/>
                      <a:pt x="259" y="42"/>
                    </a:cubicBezTo>
                    <a:cubicBezTo>
                      <a:pt x="265" y="50"/>
                      <a:pt x="273" y="55"/>
                      <a:pt x="284" y="55"/>
                    </a:cubicBezTo>
                    <a:cubicBezTo>
                      <a:pt x="288" y="55"/>
                      <a:pt x="288" y="55"/>
                      <a:pt x="288" y="55"/>
                    </a:cubicBezTo>
                    <a:cubicBezTo>
                      <a:pt x="288" y="55"/>
                      <a:pt x="288" y="51"/>
                      <a:pt x="288" y="50"/>
                    </a:cubicBezTo>
                    <a:cubicBezTo>
                      <a:pt x="288" y="42"/>
                      <a:pt x="288" y="34"/>
                      <a:pt x="288" y="25"/>
                    </a:cubicBezTo>
                    <a:cubicBezTo>
                      <a:pt x="286" y="25"/>
                      <a:pt x="283" y="26"/>
                      <a:pt x="281" y="25"/>
                    </a:cubicBezTo>
                    <a:cubicBezTo>
                      <a:pt x="275" y="22"/>
                      <a:pt x="272" y="15"/>
                      <a:pt x="268" y="11"/>
                    </a:cubicBezTo>
                    <a:cubicBezTo>
                      <a:pt x="262" y="7"/>
                      <a:pt x="256" y="4"/>
                      <a:pt x="249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" name="Oval 27">
                <a:extLst>
                  <a:ext uri="{FF2B5EF4-FFF2-40B4-BE49-F238E27FC236}">
                    <a16:creationId xmlns:a16="http://schemas.microsoft.com/office/drawing/2014/main" id="{5B4867AC-2966-4FC3-94D7-3E6F8BC74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2101" y="-417512"/>
                <a:ext cx="192088" cy="1920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" name="Freeform 28">
                <a:extLst>
                  <a:ext uri="{FF2B5EF4-FFF2-40B4-BE49-F238E27FC236}">
                    <a16:creationId xmlns:a16="http://schemas.microsoft.com/office/drawing/2014/main" id="{F4E39178-9E03-4FE3-8AE2-27002F2EE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9413" y="-682625"/>
                <a:ext cx="695325" cy="547688"/>
              </a:xfrm>
              <a:custGeom>
                <a:avLst/>
                <a:gdLst>
                  <a:gd name="T0" fmla="*/ 69 w 292"/>
                  <a:gd name="T1" fmla="*/ 226 h 231"/>
                  <a:gd name="T2" fmla="*/ 78 w 292"/>
                  <a:gd name="T3" fmla="*/ 231 h 231"/>
                  <a:gd name="T4" fmla="*/ 86 w 292"/>
                  <a:gd name="T5" fmla="*/ 226 h 231"/>
                  <a:gd name="T6" fmla="*/ 111 w 292"/>
                  <a:gd name="T7" fmla="*/ 214 h 231"/>
                  <a:gd name="T8" fmla="*/ 136 w 292"/>
                  <a:gd name="T9" fmla="*/ 226 h 231"/>
                  <a:gd name="T10" fmla="*/ 144 w 292"/>
                  <a:gd name="T11" fmla="*/ 231 h 231"/>
                  <a:gd name="T12" fmla="*/ 152 w 292"/>
                  <a:gd name="T13" fmla="*/ 227 h 231"/>
                  <a:gd name="T14" fmla="*/ 177 w 292"/>
                  <a:gd name="T15" fmla="*/ 214 h 231"/>
                  <a:gd name="T16" fmla="*/ 201 w 292"/>
                  <a:gd name="T17" fmla="*/ 226 h 231"/>
                  <a:gd name="T18" fmla="*/ 209 w 292"/>
                  <a:gd name="T19" fmla="*/ 231 h 231"/>
                  <a:gd name="T20" fmla="*/ 218 w 292"/>
                  <a:gd name="T21" fmla="*/ 226 h 231"/>
                  <a:gd name="T22" fmla="*/ 237 w 292"/>
                  <a:gd name="T23" fmla="*/ 214 h 231"/>
                  <a:gd name="T24" fmla="*/ 258 w 292"/>
                  <a:gd name="T25" fmla="*/ 218 h 231"/>
                  <a:gd name="T26" fmla="*/ 271 w 292"/>
                  <a:gd name="T27" fmla="*/ 223 h 231"/>
                  <a:gd name="T28" fmla="*/ 282 w 292"/>
                  <a:gd name="T29" fmla="*/ 225 h 231"/>
                  <a:gd name="T30" fmla="*/ 288 w 292"/>
                  <a:gd name="T31" fmla="*/ 221 h 231"/>
                  <a:gd name="T32" fmla="*/ 153 w 292"/>
                  <a:gd name="T33" fmla="*/ 138 h 231"/>
                  <a:gd name="T34" fmla="*/ 151 w 292"/>
                  <a:gd name="T35" fmla="*/ 27 h 231"/>
                  <a:gd name="T36" fmla="*/ 71 w 292"/>
                  <a:gd name="T37" fmla="*/ 0 h 231"/>
                  <a:gd name="T38" fmla="*/ 1 w 292"/>
                  <a:gd name="T39" fmla="*/ 21 h 231"/>
                  <a:gd name="T40" fmla="*/ 0 w 292"/>
                  <a:gd name="T41" fmla="*/ 22 h 231"/>
                  <a:gd name="T42" fmla="*/ 14 w 292"/>
                  <a:gd name="T43" fmla="*/ 42 h 231"/>
                  <a:gd name="T44" fmla="*/ 15 w 292"/>
                  <a:gd name="T45" fmla="*/ 42 h 231"/>
                  <a:gd name="T46" fmla="*/ 60 w 292"/>
                  <a:gd name="T47" fmla="*/ 37 h 231"/>
                  <a:gd name="T48" fmla="*/ 113 w 292"/>
                  <a:gd name="T49" fmla="*/ 76 h 231"/>
                  <a:gd name="T50" fmla="*/ 82 w 292"/>
                  <a:gd name="T51" fmla="*/ 126 h 231"/>
                  <a:gd name="T52" fmla="*/ 29 w 292"/>
                  <a:gd name="T53" fmla="*/ 219 h 231"/>
                  <a:gd name="T54" fmla="*/ 45 w 292"/>
                  <a:gd name="T55" fmla="*/ 214 h 231"/>
                  <a:gd name="T56" fmla="*/ 69 w 292"/>
                  <a:gd name="T57" fmla="*/ 226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92" h="231">
                    <a:moveTo>
                      <a:pt x="69" y="226"/>
                    </a:moveTo>
                    <a:cubicBezTo>
                      <a:pt x="73" y="230"/>
                      <a:pt x="74" y="231"/>
                      <a:pt x="78" y="231"/>
                    </a:cubicBezTo>
                    <a:cubicBezTo>
                      <a:pt x="81" y="231"/>
                      <a:pt x="82" y="230"/>
                      <a:pt x="86" y="226"/>
                    </a:cubicBezTo>
                    <a:cubicBezTo>
                      <a:pt x="91" y="221"/>
                      <a:pt x="98" y="214"/>
                      <a:pt x="111" y="214"/>
                    </a:cubicBezTo>
                    <a:cubicBezTo>
                      <a:pt x="124" y="214"/>
                      <a:pt x="131" y="221"/>
                      <a:pt x="136" y="226"/>
                    </a:cubicBezTo>
                    <a:cubicBezTo>
                      <a:pt x="140" y="231"/>
                      <a:pt x="141" y="231"/>
                      <a:pt x="144" y="231"/>
                    </a:cubicBezTo>
                    <a:cubicBezTo>
                      <a:pt x="147" y="231"/>
                      <a:pt x="148" y="231"/>
                      <a:pt x="152" y="227"/>
                    </a:cubicBezTo>
                    <a:cubicBezTo>
                      <a:pt x="157" y="222"/>
                      <a:pt x="164" y="214"/>
                      <a:pt x="177" y="214"/>
                    </a:cubicBezTo>
                    <a:cubicBezTo>
                      <a:pt x="190" y="214"/>
                      <a:pt x="196" y="222"/>
                      <a:pt x="201" y="226"/>
                    </a:cubicBezTo>
                    <a:cubicBezTo>
                      <a:pt x="205" y="230"/>
                      <a:pt x="206" y="231"/>
                      <a:pt x="209" y="231"/>
                    </a:cubicBezTo>
                    <a:cubicBezTo>
                      <a:pt x="212" y="231"/>
                      <a:pt x="214" y="230"/>
                      <a:pt x="218" y="226"/>
                    </a:cubicBezTo>
                    <a:cubicBezTo>
                      <a:pt x="223" y="221"/>
                      <a:pt x="230" y="216"/>
                      <a:pt x="237" y="214"/>
                    </a:cubicBezTo>
                    <a:cubicBezTo>
                      <a:pt x="244" y="213"/>
                      <a:pt x="251" y="215"/>
                      <a:pt x="258" y="218"/>
                    </a:cubicBezTo>
                    <a:cubicBezTo>
                      <a:pt x="262" y="220"/>
                      <a:pt x="266" y="222"/>
                      <a:pt x="271" y="223"/>
                    </a:cubicBezTo>
                    <a:cubicBezTo>
                      <a:pt x="274" y="224"/>
                      <a:pt x="278" y="225"/>
                      <a:pt x="282" y="225"/>
                    </a:cubicBezTo>
                    <a:cubicBezTo>
                      <a:pt x="284" y="225"/>
                      <a:pt x="292" y="224"/>
                      <a:pt x="288" y="221"/>
                    </a:cubicBezTo>
                    <a:cubicBezTo>
                      <a:pt x="246" y="187"/>
                      <a:pt x="164" y="143"/>
                      <a:pt x="153" y="138"/>
                    </a:cubicBezTo>
                    <a:cubicBezTo>
                      <a:pt x="168" y="104"/>
                      <a:pt x="180" y="58"/>
                      <a:pt x="151" y="27"/>
                    </a:cubicBezTo>
                    <a:cubicBezTo>
                      <a:pt x="129" y="5"/>
                      <a:pt x="101" y="0"/>
                      <a:pt x="71" y="0"/>
                    </a:cubicBezTo>
                    <a:cubicBezTo>
                      <a:pt x="26" y="0"/>
                      <a:pt x="1" y="21"/>
                      <a:pt x="1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33" y="38"/>
                      <a:pt x="48" y="37"/>
                      <a:pt x="60" y="37"/>
                    </a:cubicBezTo>
                    <a:cubicBezTo>
                      <a:pt x="84" y="37"/>
                      <a:pt x="121" y="43"/>
                      <a:pt x="113" y="76"/>
                    </a:cubicBezTo>
                    <a:cubicBezTo>
                      <a:pt x="108" y="95"/>
                      <a:pt x="94" y="111"/>
                      <a:pt x="82" y="126"/>
                    </a:cubicBezTo>
                    <a:cubicBezTo>
                      <a:pt x="61" y="154"/>
                      <a:pt x="40" y="185"/>
                      <a:pt x="29" y="219"/>
                    </a:cubicBezTo>
                    <a:cubicBezTo>
                      <a:pt x="33" y="216"/>
                      <a:pt x="39" y="214"/>
                      <a:pt x="45" y="214"/>
                    </a:cubicBezTo>
                    <a:cubicBezTo>
                      <a:pt x="58" y="214"/>
                      <a:pt x="65" y="222"/>
                      <a:pt x="69" y="2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D19800ED-5EE7-470B-8683-6022DC1D305E}"/>
                </a:ext>
              </a:extLst>
            </p:cNvPr>
            <p:cNvGrpSpPr/>
            <p:nvPr/>
          </p:nvGrpSpPr>
          <p:grpSpPr>
            <a:xfrm>
              <a:off x="10809938" y="3244896"/>
              <a:ext cx="790575" cy="1022350"/>
              <a:chOff x="11033126" y="-1001712"/>
              <a:chExt cx="790575" cy="1022350"/>
            </a:xfrm>
            <a:solidFill>
              <a:schemeClr val="bg1"/>
            </a:solidFill>
          </p:grpSpPr>
          <p:sp>
            <p:nvSpPr>
              <p:cNvPr id="65" name="Freeform 46">
                <a:extLst>
                  <a:ext uri="{FF2B5EF4-FFF2-40B4-BE49-F238E27FC236}">
                    <a16:creationId xmlns:a16="http://schemas.microsoft.com/office/drawing/2014/main" id="{5F2376CF-728F-4D45-8C40-0576536B7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56938" y="-1001712"/>
                <a:ext cx="207963" cy="209550"/>
              </a:xfrm>
              <a:custGeom>
                <a:avLst/>
                <a:gdLst>
                  <a:gd name="T0" fmla="*/ 8 w 87"/>
                  <a:gd name="T1" fmla="*/ 29 h 88"/>
                  <a:gd name="T2" fmla="*/ 29 w 87"/>
                  <a:gd name="T3" fmla="*/ 79 h 88"/>
                  <a:gd name="T4" fmla="*/ 79 w 87"/>
                  <a:gd name="T5" fmla="*/ 59 h 88"/>
                  <a:gd name="T6" fmla="*/ 58 w 87"/>
                  <a:gd name="T7" fmla="*/ 9 h 88"/>
                  <a:gd name="T8" fmla="*/ 8 w 87"/>
                  <a:gd name="T9" fmla="*/ 2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8">
                    <a:moveTo>
                      <a:pt x="8" y="29"/>
                    </a:moveTo>
                    <a:cubicBezTo>
                      <a:pt x="0" y="49"/>
                      <a:pt x="9" y="71"/>
                      <a:pt x="29" y="79"/>
                    </a:cubicBezTo>
                    <a:cubicBezTo>
                      <a:pt x="48" y="88"/>
                      <a:pt x="71" y="78"/>
                      <a:pt x="79" y="59"/>
                    </a:cubicBezTo>
                    <a:cubicBezTo>
                      <a:pt x="87" y="39"/>
                      <a:pt x="78" y="17"/>
                      <a:pt x="58" y="9"/>
                    </a:cubicBezTo>
                    <a:cubicBezTo>
                      <a:pt x="39" y="0"/>
                      <a:pt x="16" y="9"/>
                      <a:pt x="8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" name="Freeform 47">
                <a:extLst>
                  <a:ext uri="{FF2B5EF4-FFF2-40B4-BE49-F238E27FC236}">
                    <a16:creationId xmlns:a16="http://schemas.microsoft.com/office/drawing/2014/main" id="{F388DFB4-9CE9-48ED-AD2E-3B289A2A3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3126" y="-777875"/>
                <a:ext cx="261938" cy="277813"/>
              </a:xfrm>
              <a:custGeom>
                <a:avLst/>
                <a:gdLst>
                  <a:gd name="T0" fmla="*/ 76 w 110"/>
                  <a:gd name="T1" fmla="*/ 0 h 117"/>
                  <a:gd name="T2" fmla="*/ 68 w 110"/>
                  <a:gd name="T3" fmla="*/ 3 h 117"/>
                  <a:gd name="T4" fmla="*/ 59 w 110"/>
                  <a:gd name="T5" fmla="*/ 48 h 117"/>
                  <a:gd name="T6" fmla="*/ 59 w 110"/>
                  <a:gd name="T7" fmla="*/ 65 h 117"/>
                  <a:gd name="T8" fmla="*/ 55 w 110"/>
                  <a:gd name="T9" fmla="*/ 78 h 117"/>
                  <a:gd name="T10" fmla="*/ 0 w 110"/>
                  <a:gd name="T11" fmla="*/ 100 h 117"/>
                  <a:gd name="T12" fmla="*/ 6 w 110"/>
                  <a:gd name="T13" fmla="*/ 117 h 117"/>
                  <a:gd name="T14" fmla="*/ 57 w 110"/>
                  <a:gd name="T15" fmla="*/ 104 h 117"/>
                  <a:gd name="T16" fmla="*/ 79 w 110"/>
                  <a:gd name="T17" fmla="*/ 97 h 117"/>
                  <a:gd name="T18" fmla="*/ 91 w 110"/>
                  <a:gd name="T19" fmla="*/ 78 h 117"/>
                  <a:gd name="T20" fmla="*/ 97 w 110"/>
                  <a:gd name="T21" fmla="*/ 59 h 117"/>
                  <a:gd name="T22" fmla="*/ 107 w 110"/>
                  <a:gd name="T23" fmla="*/ 26 h 117"/>
                  <a:gd name="T24" fmla="*/ 110 w 110"/>
                  <a:gd name="T25" fmla="*/ 20 h 117"/>
                  <a:gd name="T26" fmla="*/ 76 w 110"/>
                  <a:gd name="T2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117">
                    <a:moveTo>
                      <a:pt x="76" y="0"/>
                    </a:moveTo>
                    <a:cubicBezTo>
                      <a:pt x="79" y="1"/>
                      <a:pt x="68" y="2"/>
                      <a:pt x="68" y="3"/>
                    </a:cubicBezTo>
                    <a:cubicBezTo>
                      <a:pt x="62" y="14"/>
                      <a:pt x="60" y="35"/>
                      <a:pt x="59" y="48"/>
                    </a:cubicBezTo>
                    <a:cubicBezTo>
                      <a:pt x="59" y="54"/>
                      <a:pt x="59" y="59"/>
                      <a:pt x="59" y="65"/>
                    </a:cubicBezTo>
                    <a:cubicBezTo>
                      <a:pt x="59" y="69"/>
                      <a:pt x="60" y="76"/>
                      <a:pt x="55" y="78"/>
                    </a:cubicBezTo>
                    <a:cubicBezTo>
                      <a:pt x="50" y="81"/>
                      <a:pt x="12" y="95"/>
                      <a:pt x="0" y="100"/>
                    </a:cubicBezTo>
                    <a:cubicBezTo>
                      <a:pt x="0" y="100"/>
                      <a:pt x="6" y="117"/>
                      <a:pt x="6" y="117"/>
                    </a:cubicBezTo>
                    <a:cubicBezTo>
                      <a:pt x="22" y="112"/>
                      <a:pt x="40" y="108"/>
                      <a:pt x="57" y="104"/>
                    </a:cubicBezTo>
                    <a:cubicBezTo>
                      <a:pt x="65" y="102"/>
                      <a:pt x="72" y="100"/>
                      <a:pt x="79" y="97"/>
                    </a:cubicBezTo>
                    <a:cubicBezTo>
                      <a:pt x="87" y="93"/>
                      <a:pt x="89" y="86"/>
                      <a:pt x="91" y="78"/>
                    </a:cubicBezTo>
                    <a:cubicBezTo>
                      <a:pt x="93" y="72"/>
                      <a:pt x="95" y="65"/>
                      <a:pt x="97" y="59"/>
                    </a:cubicBezTo>
                    <a:cubicBezTo>
                      <a:pt x="100" y="48"/>
                      <a:pt x="104" y="37"/>
                      <a:pt x="107" y="26"/>
                    </a:cubicBezTo>
                    <a:cubicBezTo>
                      <a:pt x="108" y="26"/>
                      <a:pt x="110" y="20"/>
                      <a:pt x="110" y="20"/>
                    </a:cubicBezTo>
                    <a:cubicBezTo>
                      <a:pt x="110" y="20"/>
                      <a:pt x="76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" name="Freeform 48">
                <a:extLst>
                  <a:ext uri="{FF2B5EF4-FFF2-40B4-BE49-F238E27FC236}">
                    <a16:creationId xmlns:a16="http://schemas.microsoft.com/office/drawing/2014/main" id="{E279041F-D8D3-405C-AC8F-946C56DD4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8213" y="-733425"/>
                <a:ext cx="261938" cy="277813"/>
              </a:xfrm>
              <a:custGeom>
                <a:avLst/>
                <a:gdLst>
                  <a:gd name="T0" fmla="*/ 75 w 110"/>
                  <a:gd name="T1" fmla="*/ 0 h 117"/>
                  <a:gd name="T2" fmla="*/ 68 w 110"/>
                  <a:gd name="T3" fmla="*/ 3 h 117"/>
                  <a:gd name="T4" fmla="*/ 59 w 110"/>
                  <a:gd name="T5" fmla="*/ 48 h 117"/>
                  <a:gd name="T6" fmla="*/ 59 w 110"/>
                  <a:gd name="T7" fmla="*/ 65 h 117"/>
                  <a:gd name="T8" fmla="*/ 55 w 110"/>
                  <a:gd name="T9" fmla="*/ 78 h 117"/>
                  <a:gd name="T10" fmla="*/ 0 w 110"/>
                  <a:gd name="T11" fmla="*/ 100 h 117"/>
                  <a:gd name="T12" fmla="*/ 5 w 110"/>
                  <a:gd name="T13" fmla="*/ 117 h 117"/>
                  <a:gd name="T14" fmla="*/ 57 w 110"/>
                  <a:gd name="T15" fmla="*/ 104 h 117"/>
                  <a:gd name="T16" fmla="*/ 78 w 110"/>
                  <a:gd name="T17" fmla="*/ 96 h 117"/>
                  <a:gd name="T18" fmla="*/ 91 w 110"/>
                  <a:gd name="T19" fmla="*/ 78 h 117"/>
                  <a:gd name="T20" fmla="*/ 96 w 110"/>
                  <a:gd name="T21" fmla="*/ 59 h 117"/>
                  <a:gd name="T22" fmla="*/ 107 w 110"/>
                  <a:gd name="T23" fmla="*/ 26 h 117"/>
                  <a:gd name="T24" fmla="*/ 109 w 110"/>
                  <a:gd name="T25" fmla="*/ 20 h 117"/>
                  <a:gd name="T26" fmla="*/ 75 w 110"/>
                  <a:gd name="T2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117">
                    <a:moveTo>
                      <a:pt x="75" y="0"/>
                    </a:moveTo>
                    <a:cubicBezTo>
                      <a:pt x="79" y="1"/>
                      <a:pt x="68" y="2"/>
                      <a:pt x="68" y="3"/>
                    </a:cubicBezTo>
                    <a:cubicBezTo>
                      <a:pt x="61" y="13"/>
                      <a:pt x="60" y="35"/>
                      <a:pt x="59" y="48"/>
                    </a:cubicBezTo>
                    <a:cubicBezTo>
                      <a:pt x="59" y="53"/>
                      <a:pt x="59" y="59"/>
                      <a:pt x="59" y="65"/>
                    </a:cubicBezTo>
                    <a:cubicBezTo>
                      <a:pt x="59" y="69"/>
                      <a:pt x="59" y="75"/>
                      <a:pt x="55" y="78"/>
                    </a:cubicBezTo>
                    <a:cubicBezTo>
                      <a:pt x="50" y="81"/>
                      <a:pt x="12" y="95"/>
                      <a:pt x="0" y="100"/>
                    </a:cubicBezTo>
                    <a:cubicBezTo>
                      <a:pt x="0" y="100"/>
                      <a:pt x="5" y="117"/>
                      <a:pt x="5" y="117"/>
                    </a:cubicBezTo>
                    <a:cubicBezTo>
                      <a:pt x="22" y="112"/>
                      <a:pt x="40" y="108"/>
                      <a:pt x="57" y="104"/>
                    </a:cubicBezTo>
                    <a:cubicBezTo>
                      <a:pt x="64" y="102"/>
                      <a:pt x="72" y="100"/>
                      <a:pt x="78" y="96"/>
                    </a:cubicBezTo>
                    <a:cubicBezTo>
                      <a:pt x="87" y="92"/>
                      <a:pt x="88" y="85"/>
                      <a:pt x="91" y="78"/>
                    </a:cubicBezTo>
                    <a:cubicBezTo>
                      <a:pt x="93" y="72"/>
                      <a:pt x="94" y="64"/>
                      <a:pt x="96" y="59"/>
                    </a:cubicBezTo>
                    <a:cubicBezTo>
                      <a:pt x="100" y="48"/>
                      <a:pt x="103" y="37"/>
                      <a:pt x="107" y="26"/>
                    </a:cubicBezTo>
                    <a:cubicBezTo>
                      <a:pt x="107" y="26"/>
                      <a:pt x="110" y="20"/>
                      <a:pt x="109" y="20"/>
                    </a:cubicBezTo>
                    <a:cubicBezTo>
                      <a:pt x="109" y="20"/>
                      <a:pt x="75" y="0"/>
                      <a:pt x="7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" name="Freeform 49">
                <a:extLst>
                  <a:ext uri="{FF2B5EF4-FFF2-40B4-BE49-F238E27FC236}">
                    <a16:creationId xmlns:a16="http://schemas.microsoft.com/office/drawing/2014/main" id="{5B0CB16C-7547-4E4D-B251-D47AD8223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5526" y="-804862"/>
                <a:ext cx="330200" cy="712788"/>
              </a:xfrm>
              <a:custGeom>
                <a:avLst/>
                <a:gdLst>
                  <a:gd name="T0" fmla="*/ 31 w 139"/>
                  <a:gd name="T1" fmla="*/ 215 h 300"/>
                  <a:gd name="T2" fmla="*/ 49 w 139"/>
                  <a:gd name="T3" fmla="*/ 160 h 300"/>
                  <a:gd name="T4" fmla="*/ 53 w 139"/>
                  <a:gd name="T5" fmla="*/ 143 h 300"/>
                  <a:gd name="T6" fmla="*/ 26 w 139"/>
                  <a:gd name="T7" fmla="*/ 83 h 300"/>
                  <a:gd name="T8" fmla="*/ 1 w 139"/>
                  <a:gd name="T9" fmla="*/ 34 h 300"/>
                  <a:gd name="T10" fmla="*/ 5 w 139"/>
                  <a:gd name="T11" fmla="*/ 13 h 300"/>
                  <a:gd name="T12" fmla="*/ 36 w 139"/>
                  <a:gd name="T13" fmla="*/ 4 h 300"/>
                  <a:gd name="T14" fmla="*/ 81 w 139"/>
                  <a:gd name="T15" fmla="*/ 43 h 300"/>
                  <a:gd name="T16" fmla="*/ 94 w 139"/>
                  <a:gd name="T17" fmla="*/ 66 h 300"/>
                  <a:gd name="T18" fmla="*/ 119 w 139"/>
                  <a:gd name="T19" fmla="*/ 134 h 300"/>
                  <a:gd name="T20" fmla="*/ 99 w 139"/>
                  <a:gd name="T21" fmla="*/ 175 h 300"/>
                  <a:gd name="T22" fmla="*/ 80 w 139"/>
                  <a:gd name="T23" fmla="*/ 207 h 300"/>
                  <a:gd name="T24" fmla="*/ 95 w 139"/>
                  <a:gd name="T25" fmla="*/ 237 h 300"/>
                  <a:gd name="T26" fmla="*/ 121 w 139"/>
                  <a:gd name="T27" fmla="*/ 267 h 300"/>
                  <a:gd name="T28" fmla="*/ 139 w 139"/>
                  <a:gd name="T29" fmla="*/ 288 h 300"/>
                  <a:gd name="T30" fmla="*/ 117 w 139"/>
                  <a:gd name="T31" fmla="*/ 300 h 300"/>
                  <a:gd name="T32" fmla="*/ 71 w 139"/>
                  <a:gd name="T33" fmla="*/ 264 h 300"/>
                  <a:gd name="T34" fmla="*/ 33 w 139"/>
                  <a:gd name="T35" fmla="*/ 223 h 300"/>
                  <a:gd name="T36" fmla="*/ 31 w 139"/>
                  <a:gd name="T37" fmla="*/ 215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9" h="300">
                    <a:moveTo>
                      <a:pt x="31" y="215"/>
                    </a:moveTo>
                    <a:cubicBezTo>
                      <a:pt x="29" y="196"/>
                      <a:pt x="42" y="178"/>
                      <a:pt x="49" y="160"/>
                    </a:cubicBezTo>
                    <a:cubicBezTo>
                      <a:pt x="51" y="154"/>
                      <a:pt x="53" y="149"/>
                      <a:pt x="53" y="143"/>
                    </a:cubicBezTo>
                    <a:cubicBezTo>
                      <a:pt x="54" y="121"/>
                      <a:pt x="38" y="103"/>
                      <a:pt x="26" y="83"/>
                    </a:cubicBezTo>
                    <a:cubicBezTo>
                      <a:pt x="15" y="65"/>
                      <a:pt x="6" y="56"/>
                      <a:pt x="1" y="34"/>
                    </a:cubicBezTo>
                    <a:cubicBezTo>
                      <a:pt x="0" y="25"/>
                      <a:pt x="1" y="18"/>
                      <a:pt x="5" y="13"/>
                    </a:cubicBezTo>
                    <a:cubicBezTo>
                      <a:pt x="11" y="4"/>
                      <a:pt x="23" y="0"/>
                      <a:pt x="36" y="4"/>
                    </a:cubicBezTo>
                    <a:cubicBezTo>
                      <a:pt x="56" y="9"/>
                      <a:pt x="70" y="26"/>
                      <a:pt x="81" y="43"/>
                    </a:cubicBezTo>
                    <a:cubicBezTo>
                      <a:pt x="86" y="50"/>
                      <a:pt x="90" y="58"/>
                      <a:pt x="94" y="66"/>
                    </a:cubicBezTo>
                    <a:cubicBezTo>
                      <a:pt x="106" y="87"/>
                      <a:pt x="122" y="109"/>
                      <a:pt x="119" y="134"/>
                    </a:cubicBezTo>
                    <a:cubicBezTo>
                      <a:pt x="116" y="149"/>
                      <a:pt x="108" y="163"/>
                      <a:pt x="99" y="175"/>
                    </a:cubicBezTo>
                    <a:cubicBezTo>
                      <a:pt x="93" y="184"/>
                      <a:pt x="83" y="195"/>
                      <a:pt x="80" y="207"/>
                    </a:cubicBezTo>
                    <a:cubicBezTo>
                      <a:pt x="77" y="219"/>
                      <a:pt x="88" y="228"/>
                      <a:pt x="95" y="237"/>
                    </a:cubicBezTo>
                    <a:cubicBezTo>
                      <a:pt x="104" y="247"/>
                      <a:pt x="112" y="257"/>
                      <a:pt x="121" y="267"/>
                    </a:cubicBezTo>
                    <a:cubicBezTo>
                      <a:pt x="126" y="273"/>
                      <a:pt x="131" y="280"/>
                      <a:pt x="139" y="288"/>
                    </a:cubicBezTo>
                    <a:cubicBezTo>
                      <a:pt x="117" y="300"/>
                      <a:pt x="117" y="300"/>
                      <a:pt x="117" y="300"/>
                    </a:cubicBezTo>
                    <a:cubicBezTo>
                      <a:pt x="115" y="298"/>
                      <a:pt x="84" y="275"/>
                      <a:pt x="71" y="264"/>
                    </a:cubicBezTo>
                    <a:cubicBezTo>
                      <a:pt x="57" y="253"/>
                      <a:pt x="40" y="241"/>
                      <a:pt x="33" y="223"/>
                    </a:cubicBezTo>
                    <a:cubicBezTo>
                      <a:pt x="32" y="221"/>
                      <a:pt x="32" y="218"/>
                      <a:pt x="31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" name="Freeform 50">
                <a:extLst>
                  <a:ext uri="{FF2B5EF4-FFF2-40B4-BE49-F238E27FC236}">
                    <a16:creationId xmlns:a16="http://schemas.microsoft.com/office/drawing/2014/main" id="{132D6F61-CD7F-45CD-A6E1-00B0872ED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50588" y="-222250"/>
                <a:ext cx="773113" cy="242888"/>
              </a:xfrm>
              <a:custGeom>
                <a:avLst/>
                <a:gdLst>
                  <a:gd name="T0" fmla="*/ 1 w 325"/>
                  <a:gd name="T1" fmla="*/ 84 h 102"/>
                  <a:gd name="T2" fmla="*/ 4 w 325"/>
                  <a:gd name="T3" fmla="*/ 77 h 102"/>
                  <a:gd name="T4" fmla="*/ 4 w 325"/>
                  <a:gd name="T5" fmla="*/ 77 h 102"/>
                  <a:gd name="T6" fmla="*/ 11 w 325"/>
                  <a:gd name="T7" fmla="*/ 80 h 102"/>
                  <a:gd name="T8" fmla="*/ 11 w 325"/>
                  <a:gd name="T9" fmla="*/ 80 h 102"/>
                  <a:gd name="T10" fmla="*/ 11 w 325"/>
                  <a:gd name="T11" fmla="*/ 80 h 102"/>
                  <a:gd name="T12" fmla="*/ 11 w 325"/>
                  <a:gd name="T13" fmla="*/ 80 h 102"/>
                  <a:gd name="T14" fmla="*/ 12 w 325"/>
                  <a:gd name="T15" fmla="*/ 81 h 102"/>
                  <a:gd name="T16" fmla="*/ 12 w 325"/>
                  <a:gd name="T17" fmla="*/ 81 h 102"/>
                  <a:gd name="T18" fmla="*/ 16 w 325"/>
                  <a:gd name="T19" fmla="*/ 85 h 102"/>
                  <a:gd name="T20" fmla="*/ 16 w 325"/>
                  <a:gd name="T21" fmla="*/ 85 h 102"/>
                  <a:gd name="T22" fmla="*/ 37 w 325"/>
                  <a:gd name="T23" fmla="*/ 91 h 102"/>
                  <a:gd name="T24" fmla="*/ 37 w 325"/>
                  <a:gd name="T25" fmla="*/ 91 h 102"/>
                  <a:gd name="T26" fmla="*/ 56 w 325"/>
                  <a:gd name="T27" fmla="*/ 88 h 102"/>
                  <a:gd name="T28" fmla="*/ 56 w 325"/>
                  <a:gd name="T29" fmla="*/ 88 h 102"/>
                  <a:gd name="T30" fmla="*/ 317 w 325"/>
                  <a:gd name="T31" fmla="*/ 1 h 102"/>
                  <a:gd name="T32" fmla="*/ 324 w 325"/>
                  <a:gd name="T33" fmla="*/ 5 h 102"/>
                  <a:gd name="T34" fmla="*/ 324 w 325"/>
                  <a:gd name="T35" fmla="*/ 5 h 102"/>
                  <a:gd name="T36" fmla="*/ 321 w 325"/>
                  <a:gd name="T37" fmla="*/ 12 h 102"/>
                  <a:gd name="T38" fmla="*/ 321 w 325"/>
                  <a:gd name="T39" fmla="*/ 12 h 102"/>
                  <a:gd name="T40" fmla="*/ 59 w 325"/>
                  <a:gd name="T41" fmla="*/ 99 h 102"/>
                  <a:gd name="T42" fmla="*/ 37 w 325"/>
                  <a:gd name="T43" fmla="*/ 102 h 102"/>
                  <a:gd name="T44" fmla="*/ 37 w 325"/>
                  <a:gd name="T45" fmla="*/ 102 h 102"/>
                  <a:gd name="T46" fmla="*/ 36 w 325"/>
                  <a:gd name="T47" fmla="*/ 102 h 102"/>
                  <a:gd name="T48" fmla="*/ 36 w 325"/>
                  <a:gd name="T49" fmla="*/ 102 h 102"/>
                  <a:gd name="T50" fmla="*/ 1 w 325"/>
                  <a:gd name="T51" fmla="*/ 8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5" h="102">
                    <a:moveTo>
                      <a:pt x="1" y="84"/>
                    </a:moveTo>
                    <a:cubicBezTo>
                      <a:pt x="0" y="81"/>
                      <a:pt x="1" y="78"/>
                      <a:pt x="4" y="77"/>
                    </a:cubicBezTo>
                    <a:cubicBezTo>
                      <a:pt x="4" y="77"/>
                      <a:pt x="4" y="77"/>
                      <a:pt x="4" y="77"/>
                    </a:cubicBezTo>
                    <a:cubicBezTo>
                      <a:pt x="6" y="76"/>
                      <a:pt x="10" y="77"/>
                      <a:pt x="11" y="80"/>
                    </a:cubicBezTo>
                    <a:cubicBezTo>
                      <a:pt x="11" y="80"/>
                      <a:pt x="11" y="80"/>
                      <a:pt x="11" y="80"/>
                    </a:cubicBezTo>
                    <a:cubicBezTo>
                      <a:pt x="11" y="80"/>
                      <a:pt x="11" y="80"/>
                      <a:pt x="11" y="80"/>
                    </a:cubicBezTo>
                    <a:cubicBezTo>
                      <a:pt x="11" y="80"/>
                      <a:pt x="11" y="80"/>
                      <a:pt x="11" y="80"/>
                    </a:cubicBezTo>
                    <a:cubicBezTo>
                      <a:pt x="11" y="80"/>
                      <a:pt x="12" y="80"/>
                      <a:pt x="12" y="81"/>
                    </a:cubicBezTo>
                    <a:cubicBezTo>
                      <a:pt x="12" y="81"/>
                      <a:pt x="12" y="81"/>
                      <a:pt x="12" y="81"/>
                    </a:cubicBezTo>
                    <a:cubicBezTo>
                      <a:pt x="13" y="82"/>
                      <a:pt x="14" y="83"/>
                      <a:pt x="16" y="85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20" y="88"/>
                      <a:pt x="26" y="91"/>
                      <a:pt x="37" y="91"/>
                    </a:cubicBezTo>
                    <a:cubicBezTo>
                      <a:pt x="37" y="91"/>
                      <a:pt x="37" y="91"/>
                      <a:pt x="37" y="91"/>
                    </a:cubicBezTo>
                    <a:cubicBezTo>
                      <a:pt x="42" y="91"/>
                      <a:pt x="48" y="90"/>
                      <a:pt x="56" y="88"/>
                    </a:cubicBezTo>
                    <a:cubicBezTo>
                      <a:pt x="56" y="88"/>
                      <a:pt x="56" y="88"/>
                      <a:pt x="56" y="88"/>
                    </a:cubicBezTo>
                    <a:cubicBezTo>
                      <a:pt x="317" y="1"/>
                      <a:pt x="317" y="1"/>
                      <a:pt x="317" y="1"/>
                    </a:cubicBezTo>
                    <a:cubicBezTo>
                      <a:pt x="320" y="0"/>
                      <a:pt x="323" y="2"/>
                      <a:pt x="324" y="5"/>
                    </a:cubicBezTo>
                    <a:cubicBezTo>
                      <a:pt x="324" y="5"/>
                      <a:pt x="324" y="5"/>
                      <a:pt x="324" y="5"/>
                    </a:cubicBezTo>
                    <a:cubicBezTo>
                      <a:pt x="325" y="8"/>
                      <a:pt x="324" y="11"/>
                      <a:pt x="321" y="12"/>
                    </a:cubicBezTo>
                    <a:cubicBezTo>
                      <a:pt x="321" y="12"/>
                      <a:pt x="321" y="12"/>
                      <a:pt x="321" y="12"/>
                    </a:cubicBezTo>
                    <a:cubicBezTo>
                      <a:pt x="59" y="99"/>
                      <a:pt x="59" y="99"/>
                      <a:pt x="59" y="99"/>
                    </a:cubicBezTo>
                    <a:cubicBezTo>
                      <a:pt x="51" y="101"/>
                      <a:pt x="43" y="102"/>
                      <a:pt x="37" y="102"/>
                    </a:cubicBezTo>
                    <a:cubicBezTo>
                      <a:pt x="37" y="102"/>
                      <a:pt x="37" y="102"/>
                      <a:pt x="37" y="102"/>
                    </a:cubicBezTo>
                    <a:cubicBezTo>
                      <a:pt x="37" y="102"/>
                      <a:pt x="36" y="102"/>
                      <a:pt x="36" y="102"/>
                    </a:cubicBezTo>
                    <a:cubicBezTo>
                      <a:pt x="36" y="102"/>
                      <a:pt x="36" y="102"/>
                      <a:pt x="36" y="102"/>
                    </a:cubicBezTo>
                    <a:cubicBezTo>
                      <a:pt x="10" y="102"/>
                      <a:pt x="1" y="85"/>
                      <a:pt x="1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" name="Freeform 51">
                <a:extLst>
                  <a:ext uri="{FF2B5EF4-FFF2-40B4-BE49-F238E27FC236}">
                    <a16:creationId xmlns:a16="http://schemas.microsoft.com/office/drawing/2014/main" id="{0034F5CC-897F-41D6-B5CF-357299CD6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7901" y="-490537"/>
                <a:ext cx="611188" cy="73025"/>
              </a:xfrm>
              <a:custGeom>
                <a:avLst/>
                <a:gdLst>
                  <a:gd name="T0" fmla="*/ 252 w 257"/>
                  <a:gd name="T1" fmla="*/ 31 h 31"/>
                  <a:gd name="T2" fmla="*/ 4 w 257"/>
                  <a:gd name="T3" fmla="*/ 8 h 31"/>
                  <a:gd name="T4" fmla="*/ 0 w 257"/>
                  <a:gd name="T5" fmla="*/ 4 h 31"/>
                  <a:gd name="T6" fmla="*/ 0 w 257"/>
                  <a:gd name="T7" fmla="*/ 4 h 31"/>
                  <a:gd name="T8" fmla="*/ 5 w 257"/>
                  <a:gd name="T9" fmla="*/ 0 h 31"/>
                  <a:gd name="T10" fmla="*/ 5 w 257"/>
                  <a:gd name="T11" fmla="*/ 0 h 31"/>
                  <a:gd name="T12" fmla="*/ 253 w 257"/>
                  <a:gd name="T13" fmla="*/ 23 h 31"/>
                  <a:gd name="T14" fmla="*/ 257 w 257"/>
                  <a:gd name="T15" fmla="*/ 27 h 31"/>
                  <a:gd name="T16" fmla="*/ 257 w 257"/>
                  <a:gd name="T17" fmla="*/ 27 h 31"/>
                  <a:gd name="T18" fmla="*/ 252 w 257"/>
                  <a:gd name="T19" fmla="*/ 31 h 31"/>
                  <a:gd name="T20" fmla="*/ 252 w 257"/>
                  <a:gd name="T21" fmla="*/ 31 h 31"/>
                  <a:gd name="T22" fmla="*/ 252 w 257"/>
                  <a:gd name="T2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7" h="31">
                    <a:moveTo>
                      <a:pt x="252" y="31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2"/>
                      <a:pt x="3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53" y="23"/>
                      <a:pt x="253" y="23"/>
                      <a:pt x="253" y="23"/>
                    </a:cubicBezTo>
                    <a:cubicBezTo>
                      <a:pt x="255" y="23"/>
                      <a:pt x="257" y="25"/>
                      <a:pt x="257" y="27"/>
                    </a:cubicBezTo>
                    <a:cubicBezTo>
                      <a:pt x="257" y="27"/>
                      <a:pt x="257" y="27"/>
                      <a:pt x="257" y="27"/>
                    </a:cubicBezTo>
                    <a:cubicBezTo>
                      <a:pt x="256" y="29"/>
                      <a:pt x="255" y="31"/>
                      <a:pt x="252" y="31"/>
                    </a:cubicBezTo>
                    <a:cubicBezTo>
                      <a:pt x="252" y="31"/>
                      <a:pt x="252" y="31"/>
                      <a:pt x="252" y="31"/>
                    </a:cubicBezTo>
                    <a:cubicBezTo>
                      <a:pt x="252" y="31"/>
                      <a:pt x="252" y="31"/>
                      <a:pt x="25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" name="Freeform 52">
                <a:extLst>
                  <a:ext uri="{FF2B5EF4-FFF2-40B4-BE49-F238E27FC236}">
                    <a16:creationId xmlns:a16="http://schemas.microsoft.com/office/drawing/2014/main" id="{8A8E3E86-F1C6-4593-A434-4B673837B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0826" y="-471487"/>
                <a:ext cx="20638" cy="90488"/>
              </a:xfrm>
              <a:custGeom>
                <a:avLst/>
                <a:gdLst>
                  <a:gd name="T0" fmla="*/ 0 w 9"/>
                  <a:gd name="T1" fmla="*/ 34 h 38"/>
                  <a:gd name="T2" fmla="*/ 0 w 9"/>
                  <a:gd name="T3" fmla="*/ 4 h 38"/>
                  <a:gd name="T4" fmla="*/ 4 w 9"/>
                  <a:gd name="T5" fmla="*/ 0 h 38"/>
                  <a:gd name="T6" fmla="*/ 4 w 9"/>
                  <a:gd name="T7" fmla="*/ 0 h 38"/>
                  <a:gd name="T8" fmla="*/ 9 w 9"/>
                  <a:gd name="T9" fmla="*/ 4 h 38"/>
                  <a:gd name="T10" fmla="*/ 9 w 9"/>
                  <a:gd name="T11" fmla="*/ 4 h 38"/>
                  <a:gd name="T12" fmla="*/ 9 w 9"/>
                  <a:gd name="T13" fmla="*/ 34 h 38"/>
                  <a:gd name="T14" fmla="*/ 4 w 9"/>
                  <a:gd name="T15" fmla="*/ 38 h 38"/>
                  <a:gd name="T16" fmla="*/ 4 w 9"/>
                  <a:gd name="T17" fmla="*/ 38 h 38"/>
                  <a:gd name="T18" fmla="*/ 0 w 9"/>
                  <a:gd name="T19" fmla="*/ 3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8">
                    <a:moveTo>
                      <a:pt x="0" y="3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6"/>
                      <a:pt x="7" y="38"/>
                      <a:pt x="4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2" y="38"/>
                      <a:pt x="0" y="36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49" name="组合 48">
              <a:extLst>
                <a:ext uri="{FF2B5EF4-FFF2-40B4-BE49-F238E27FC236}">
                  <a16:creationId xmlns:a16="http://schemas.microsoft.com/office/drawing/2014/main" id="{09979816-302C-4C50-9BDB-95B72F0519F8}"/>
                </a:ext>
              </a:extLst>
            </p:cNvPr>
            <p:cNvGrpSpPr/>
            <p:nvPr/>
          </p:nvGrpSpPr>
          <p:grpSpPr>
            <a:xfrm>
              <a:off x="10001221" y="1146240"/>
              <a:ext cx="600075" cy="1022351"/>
              <a:chOff x="7119938" y="-1006475"/>
              <a:chExt cx="600075" cy="1022351"/>
            </a:xfrm>
            <a:solidFill>
              <a:schemeClr val="bg1"/>
            </a:solidFill>
          </p:grpSpPr>
          <p:sp>
            <p:nvSpPr>
              <p:cNvPr id="61" name="Freeform 53">
                <a:extLst>
                  <a:ext uri="{FF2B5EF4-FFF2-40B4-BE49-F238E27FC236}">
                    <a16:creationId xmlns:a16="http://schemas.microsoft.com/office/drawing/2014/main" id="{D8763178-1A20-4917-88E2-DB4622B7A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0438" y="-1006475"/>
                <a:ext cx="209550" cy="206375"/>
              </a:xfrm>
              <a:custGeom>
                <a:avLst/>
                <a:gdLst>
                  <a:gd name="T0" fmla="*/ 7 w 88"/>
                  <a:gd name="T1" fmla="*/ 31 h 87"/>
                  <a:gd name="T2" fmla="*/ 32 w 88"/>
                  <a:gd name="T3" fmla="*/ 80 h 87"/>
                  <a:gd name="T4" fmla="*/ 81 w 88"/>
                  <a:gd name="T5" fmla="*/ 56 h 87"/>
                  <a:gd name="T6" fmla="*/ 56 w 88"/>
                  <a:gd name="T7" fmla="*/ 7 h 87"/>
                  <a:gd name="T8" fmla="*/ 7 w 88"/>
                  <a:gd name="T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87">
                    <a:moveTo>
                      <a:pt x="7" y="31"/>
                    </a:moveTo>
                    <a:cubicBezTo>
                      <a:pt x="0" y="52"/>
                      <a:pt x="11" y="74"/>
                      <a:pt x="32" y="80"/>
                    </a:cubicBezTo>
                    <a:cubicBezTo>
                      <a:pt x="52" y="87"/>
                      <a:pt x="74" y="76"/>
                      <a:pt x="81" y="56"/>
                    </a:cubicBezTo>
                    <a:cubicBezTo>
                      <a:pt x="88" y="35"/>
                      <a:pt x="77" y="13"/>
                      <a:pt x="56" y="7"/>
                    </a:cubicBezTo>
                    <a:cubicBezTo>
                      <a:pt x="36" y="0"/>
                      <a:pt x="14" y="11"/>
                      <a:pt x="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" name="Freeform 54">
                <a:extLst>
                  <a:ext uri="{FF2B5EF4-FFF2-40B4-BE49-F238E27FC236}">
                    <a16:creationId xmlns:a16="http://schemas.microsoft.com/office/drawing/2014/main" id="{63864E56-3E38-4E90-A32F-D78C070B8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1851" y="-796925"/>
                <a:ext cx="425450" cy="804863"/>
              </a:xfrm>
              <a:custGeom>
                <a:avLst/>
                <a:gdLst>
                  <a:gd name="T0" fmla="*/ 51 w 179"/>
                  <a:gd name="T1" fmla="*/ 16 h 339"/>
                  <a:gd name="T2" fmla="*/ 99 w 179"/>
                  <a:gd name="T3" fmla="*/ 15 h 339"/>
                  <a:gd name="T4" fmla="*/ 134 w 179"/>
                  <a:gd name="T5" fmla="*/ 61 h 339"/>
                  <a:gd name="T6" fmla="*/ 151 w 179"/>
                  <a:gd name="T7" fmla="*/ 95 h 339"/>
                  <a:gd name="T8" fmla="*/ 172 w 179"/>
                  <a:gd name="T9" fmla="*/ 135 h 339"/>
                  <a:gd name="T10" fmla="*/ 177 w 179"/>
                  <a:gd name="T11" fmla="*/ 150 h 339"/>
                  <a:gd name="T12" fmla="*/ 163 w 179"/>
                  <a:gd name="T13" fmla="*/ 164 h 339"/>
                  <a:gd name="T14" fmla="*/ 109 w 179"/>
                  <a:gd name="T15" fmla="*/ 77 h 339"/>
                  <a:gd name="T16" fmla="*/ 107 w 179"/>
                  <a:gd name="T17" fmla="*/ 111 h 339"/>
                  <a:gd name="T18" fmla="*/ 112 w 179"/>
                  <a:gd name="T19" fmla="*/ 153 h 339"/>
                  <a:gd name="T20" fmla="*/ 159 w 179"/>
                  <a:gd name="T21" fmla="*/ 336 h 339"/>
                  <a:gd name="T22" fmla="*/ 159 w 179"/>
                  <a:gd name="T23" fmla="*/ 337 h 339"/>
                  <a:gd name="T24" fmla="*/ 159 w 179"/>
                  <a:gd name="T25" fmla="*/ 338 h 339"/>
                  <a:gd name="T26" fmla="*/ 127 w 179"/>
                  <a:gd name="T27" fmla="*/ 339 h 339"/>
                  <a:gd name="T28" fmla="*/ 126 w 179"/>
                  <a:gd name="T29" fmla="*/ 338 h 339"/>
                  <a:gd name="T30" fmla="*/ 73 w 179"/>
                  <a:gd name="T31" fmla="*/ 190 h 339"/>
                  <a:gd name="T32" fmla="*/ 32 w 179"/>
                  <a:gd name="T33" fmla="*/ 337 h 339"/>
                  <a:gd name="T34" fmla="*/ 31 w 179"/>
                  <a:gd name="T35" fmla="*/ 338 h 339"/>
                  <a:gd name="T36" fmla="*/ 1 w 179"/>
                  <a:gd name="T37" fmla="*/ 334 h 339"/>
                  <a:gd name="T38" fmla="*/ 0 w 179"/>
                  <a:gd name="T39" fmla="*/ 334 h 339"/>
                  <a:gd name="T40" fmla="*/ 0 w 179"/>
                  <a:gd name="T41" fmla="*/ 333 h 339"/>
                  <a:gd name="T42" fmla="*/ 3 w 179"/>
                  <a:gd name="T43" fmla="*/ 314 h 339"/>
                  <a:gd name="T44" fmla="*/ 11 w 179"/>
                  <a:gd name="T45" fmla="*/ 268 h 339"/>
                  <a:gd name="T46" fmla="*/ 20 w 179"/>
                  <a:gd name="T47" fmla="*/ 214 h 339"/>
                  <a:gd name="T48" fmla="*/ 28 w 179"/>
                  <a:gd name="T49" fmla="*/ 169 h 339"/>
                  <a:gd name="T50" fmla="*/ 36 w 179"/>
                  <a:gd name="T51" fmla="*/ 82 h 339"/>
                  <a:gd name="T52" fmla="*/ 51 w 179"/>
                  <a:gd name="T53" fmla="*/ 16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9" h="339">
                    <a:moveTo>
                      <a:pt x="51" y="16"/>
                    </a:moveTo>
                    <a:cubicBezTo>
                      <a:pt x="65" y="0"/>
                      <a:pt x="84" y="4"/>
                      <a:pt x="99" y="15"/>
                    </a:cubicBezTo>
                    <a:cubicBezTo>
                      <a:pt x="115" y="27"/>
                      <a:pt x="125" y="44"/>
                      <a:pt x="134" y="61"/>
                    </a:cubicBezTo>
                    <a:cubicBezTo>
                      <a:pt x="140" y="72"/>
                      <a:pt x="145" y="84"/>
                      <a:pt x="151" y="95"/>
                    </a:cubicBezTo>
                    <a:cubicBezTo>
                      <a:pt x="158" y="108"/>
                      <a:pt x="165" y="122"/>
                      <a:pt x="172" y="135"/>
                    </a:cubicBezTo>
                    <a:cubicBezTo>
                      <a:pt x="172" y="137"/>
                      <a:pt x="179" y="148"/>
                      <a:pt x="177" y="150"/>
                    </a:cubicBezTo>
                    <a:cubicBezTo>
                      <a:pt x="163" y="164"/>
                      <a:pt x="163" y="164"/>
                      <a:pt x="163" y="164"/>
                    </a:cubicBezTo>
                    <a:cubicBezTo>
                      <a:pt x="154" y="151"/>
                      <a:pt x="109" y="77"/>
                      <a:pt x="109" y="77"/>
                    </a:cubicBezTo>
                    <a:cubicBezTo>
                      <a:pt x="108" y="82"/>
                      <a:pt x="107" y="95"/>
                      <a:pt x="107" y="111"/>
                    </a:cubicBezTo>
                    <a:cubicBezTo>
                      <a:pt x="107" y="126"/>
                      <a:pt x="108" y="143"/>
                      <a:pt x="112" y="153"/>
                    </a:cubicBezTo>
                    <a:cubicBezTo>
                      <a:pt x="159" y="336"/>
                      <a:pt x="159" y="336"/>
                      <a:pt x="159" y="336"/>
                    </a:cubicBezTo>
                    <a:cubicBezTo>
                      <a:pt x="160" y="337"/>
                      <a:pt x="159" y="337"/>
                      <a:pt x="159" y="337"/>
                    </a:cubicBezTo>
                    <a:cubicBezTo>
                      <a:pt x="159" y="337"/>
                      <a:pt x="159" y="338"/>
                      <a:pt x="159" y="338"/>
                    </a:cubicBezTo>
                    <a:cubicBezTo>
                      <a:pt x="127" y="339"/>
                      <a:pt x="127" y="339"/>
                      <a:pt x="127" y="339"/>
                    </a:cubicBezTo>
                    <a:cubicBezTo>
                      <a:pt x="126" y="338"/>
                      <a:pt x="126" y="338"/>
                      <a:pt x="126" y="338"/>
                    </a:cubicBezTo>
                    <a:cubicBezTo>
                      <a:pt x="73" y="190"/>
                      <a:pt x="73" y="190"/>
                      <a:pt x="73" y="190"/>
                    </a:cubicBezTo>
                    <a:cubicBezTo>
                      <a:pt x="32" y="337"/>
                      <a:pt x="32" y="337"/>
                      <a:pt x="32" y="337"/>
                    </a:cubicBezTo>
                    <a:cubicBezTo>
                      <a:pt x="32" y="338"/>
                      <a:pt x="31" y="338"/>
                      <a:pt x="31" y="338"/>
                    </a:cubicBezTo>
                    <a:cubicBezTo>
                      <a:pt x="1" y="334"/>
                      <a:pt x="1" y="334"/>
                      <a:pt x="1" y="334"/>
                    </a:cubicBezTo>
                    <a:cubicBezTo>
                      <a:pt x="0" y="334"/>
                      <a:pt x="0" y="334"/>
                      <a:pt x="0" y="334"/>
                    </a:cubicBezTo>
                    <a:cubicBezTo>
                      <a:pt x="0" y="333"/>
                      <a:pt x="0" y="333"/>
                      <a:pt x="0" y="333"/>
                    </a:cubicBezTo>
                    <a:cubicBezTo>
                      <a:pt x="1" y="327"/>
                      <a:pt x="2" y="320"/>
                      <a:pt x="3" y="314"/>
                    </a:cubicBezTo>
                    <a:cubicBezTo>
                      <a:pt x="6" y="299"/>
                      <a:pt x="8" y="284"/>
                      <a:pt x="11" y="268"/>
                    </a:cubicBezTo>
                    <a:cubicBezTo>
                      <a:pt x="14" y="250"/>
                      <a:pt x="17" y="232"/>
                      <a:pt x="20" y="214"/>
                    </a:cubicBezTo>
                    <a:cubicBezTo>
                      <a:pt x="23" y="199"/>
                      <a:pt x="26" y="184"/>
                      <a:pt x="28" y="169"/>
                    </a:cubicBezTo>
                    <a:cubicBezTo>
                      <a:pt x="33" y="140"/>
                      <a:pt x="33" y="111"/>
                      <a:pt x="36" y="82"/>
                    </a:cubicBezTo>
                    <a:cubicBezTo>
                      <a:pt x="37" y="60"/>
                      <a:pt x="37" y="34"/>
                      <a:pt x="51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" name="Freeform 55">
                <a:extLst>
                  <a:ext uri="{FF2B5EF4-FFF2-40B4-BE49-F238E27FC236}">
                    <a16:creationId xmlns:a16="http://schemas.microsoft.com/office/drawing/2014/main" id="{D305CDE1-2BC1-49D4-B2F7-F485B7D64E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3963" y="-446087"/>
                <a:ext cx="146050" cy="461963"/>
              </a:xfrm>
              <a:custGeom>
                <a:avLst/>
                <a:gdLst>
                  <a:gd name="T0" fmla="*/ 52 w 61"/>
                  <a:gd name="T1" fmla="*/ 191 h 194"/>
                  <a:gd name="T2" fmla="*/ 0 w 61"/>
                  <a:gd name="T3" fmla="*/ 5 h 194"/>
                  <a:gd name="T4" fmla="*/ 3 w 61"/>
                  <a:gd name="T5" fmla="*/ 0 h 194"/>
                  <a:gd name="T6" fmla="*/ 3 w 61"/>
                  <a:gd name="T7" fmla="*/ 0 h 194"/>
                  <a:gd name="T8" fmla="*/ 8 w 61"/>
                  <a:gd name="T9" fmla="*/ 3 h 194"/>
                  <a:gd name="T10" fmla="*/ 8 w 61"/>
                  <a:gd name="T11" fmla="*/ 3 h 194"/>
                  <a:gd name="T12" fmla="*/ 60 w 61"/>
                  <a:gd name="T13" fmla="*/ 189 h 194"/>
                  <a:gd name="T14" fmla="*/ 57 w 61"/>
                  <a:gd name="T15" fmla="*/ 194 h 194"/>
                  <a:gd name="T16" fmla="*/ 57 w 61"/>
                  <a:gd name="T17" fmla="*/ 194 h 194"/>
                  <a:gd name="T18" fmla="*/ 56 w 61"/>
                  <a:gd name="T19" fmla="*/ 194 h 194"/>
                  <a:gd name="T20" fmla="*/ 56 w 61"/>
                  <a:gd name="T21" fmla="*/ 194 h 194"/>
                  <a:gd name="T22" fmla="*/ 52 w 61"/>
                  <a:gd name="T23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94">
                    <a:moveTo>
                      <a:pt x="52" y="191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8" y="1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1" y="191"/>
                      <a:pt x="59" y="194"/>
                      <a:pt x="57" y="194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57" y="194"/>
                      <a:pt x="56" y="194"/>
                      <a:pt x="56" y="194"/>
                    </a:cubicBezTo>
                    <a:cubicBezTo>
                      <a:pt x="56" y="194"/>
                      <a:pt x="56" y="194"/>
                      <a:pt x="56" y="194"/>
                    </a:cubicBezTo>
                    <a:cubicBezTo>
                      <a:pt x="54" y="194"/>
                      <a:pt x="53" y="193"/>
                      <a:pt x="52" y="19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" name="Freeform 56">
                <a:extLst>
                  <a:ext uri="{FF2B5EF4-FFF2-40B4-BE49-F238E27FC236}">
                    <a16:creationId xmlns:a16="http://schemas.microsoft.com/office/drawing/2014/main" id="{B9659785-15E2-48B3-8A7C-6A91BB80B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9938" y="-790575"/>
                <a:ext cx="142875" cy="315913"/>
              </a:xfrm>
              <a:custGeom>
                <a:avLst/>
                <a:gdLst>
                  <a:gd name="T0" fmla="*/ 49 w 60"/>
                  <a:gd name="T1" fmla="*/ 113 h 133"/>
                  <a:gd name="T2" fmla="*/ 23 w 60"/>
                  <a:gd name="T3" fmla="*/ 132 h 133"/>
                  <a:gd name="T4" fmla="*/ 23 w 60"/>
                  <a:gd name="T5" fmla="*/ 132 h 133"/>
                  <a:gd name="T6" fmla="*/ 1 w 60"/>
                  <a:gd name="T7" fmla="*/ 108 h 133"/>
                  <a:gd name="T8" fmla="*/ 10 w 60"/>
                  <a:gd name="T9" fmla="*/ 20 h 133"/>
                  <a:gd name="T10" fmla="*/ 37 w 60"/>
                  <a:gd name="T11" fmla="*/ 1 h 133"/>
                  <a:gd name="T12" fmla="*/ 37 w 60"/>
                  <a:gd name="T13" fmla="*/ 1 h 133"/>
                  <a:gd name="T14" fmla="*/ 59 w 60"/>
                  <a:gd name="T15" fmla="*/ 25 h 133"/>
                  <a:gd name="T16" fmla="*/ 49 w 60"/>
                  <a:gd name="T17" fmla="*/ 11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133">
                    <a:moveTo>
                      <a:pt x="49" y="113"/>
                    </a:moveTo>
                    <a:cubicBezTo>
                      <a:pt x="48" y="125"/>
                      <a:pt x="36" y="133"/>
                      <a:pt x="23" y="132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10" y="130"/>
                      <a:pt x="0" y="119"/>
                      <a:pt x="1" y="108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8"/>
                      <a:pt x="23" y="0"/>
                      <a:pt x="37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50" y="2"/>
                      <a:pt x="60" y="13"/>
                      <a:pt x="59" y="25"/>
                    </a:cubicBezTo>
                    <a:lnTo>
                      <a:pt x="49" y="1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50" name="组合 49">
              <a:extLst>
                <a:ext uri="{FF2B5EF4-FFF2-40B4-BE49-F238E27FC236}">
                  <a16:creationId xmlns:a16="http://schemas.microsoft.com/office/drawing/2014/main" id="{7A1D2A3D-F5C4-4D8A-8B66-6B8566E55F7D}"/>
                </a:ext>
              </a:extLst>
            </p:cNvPr>
            <p:cNvGrpSpPr/>
            <p:nvPr/>
          </p:nvGrpSpPr>
          <p:grpSpPr>
            <a:xfrm>
              <a:off x="6050025" y="2847100"/>
              <a:ext cx="525462" cy="1201738"/>
              <a:chOff x="5346701" y="-1193800"/>
              <a:chExt cx="525462" cy="1201738"/>
            </a:xfrm>
            <a:solidFill>
              <a:schemeClr val="bg1"/>
            </a:solidFill>
          </p:grpSpPr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77484491-F269-46BC-8E1F-5E62DCD649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1013" y="-917575"/>
                <a:ext cx="200025" cy="196850"/>
              </a:xfrm>
              <a:custGeom>
                <a:avLst/>
                <a:gdLst>
                  <a:gd name="T0" fmla="*/ 7 w 84"/>
                  <a:gd name="T1" fmla="*/ 30 h 83"/>
                  <a:gd name="T2" fmla="*/ 30 w 84"/>
                  <a:gd name="T3" fmla="*/ 77 h 83"/>
                  <a:gd name="T4" fmla="*/ 78 w 84"/>
                  <a:gd name="T5" fmla="*/ 53 h 83"/>
                  <a:gd name="T6" fmla="*/ 54 w 84"/>
                  <a:gd name="T7" fmla="*/ 6 h 83"/>
                  <a:gd name="T8" fmla="*/ 7 w 84"/>
                  <a:gd name="T9" fmla="*/ 3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3">
                    <a:moveTo>
                      <a:pt x="7" y="30"/>
                    </a:moveTo>
                    <a:cubicBezTo>
                      <a:pt x="0" y="49"/>
                      <a:pt x="11" y="70"/>
                      <a:pt x="30" y="77"/>
                    </a:cubicBezTo>
                    <a:cubicBezTo>
                      <a:pt x="50" y="83"/>
                      <a:pt x="71" y="73"/>
                      <a:pt x="78" y="53"/>
                    </a:cubicBezTo>
                    <a:cubicBezTo>
                      <a:pt x="84" y="34"/>
                      <a:pt x="74" y="13"/>
                      <a:pt x="54" y="6"/>
                    </a:cubicBezTo>
                    <a:cubicBezTo>
                      <a:pt x="34" y="0"/>
                      <a:pt x="13" y="10"/>
                      <a:pt x="7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B63436BA-36FF-4030-BCFD-EBED92CBE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-795337"/>
                <a:ext cx="515938" cy="803275"/>
              </a:xfrm>
              <a:custGeom>
                <a:avLst/>
                <a:gdLst>
                  <a:gd name="T0" fmla="*/ 192 w 217"/>
                  <a:gd name="T1" fmla="*/ 109 h 338"/>
                  <a:gd name="T2" fmla="*/ 184 w 217"/>
                  <a:gd name="T3" fmla="*/ 90 h 338"/>
                  <a:gd name="T4" fmla="*/ 165 w 217"/>
                  <a:gd name="T5" fmla="*/ 54 h 338"/>
                  <a:gd name="T6" fmla="*/ 148 w 217"/>
                  <a:gd name="T7" fmla="*/ 39 h 338"/>
                  <a:gd name="T8" fmla="*/ 86 w 217"/>
                  <a:gd name="T9" fmla="*/ 42 h 338"/>
                  <a:gd name="T10" fmla="*/ 46 w 217"/>
                  <a:gd name="T11" fmla="*/ 46 h 338"/>
                  <a:gd name="T12" fmla="*/ 36 w 217"/>
                  <a:gd name="T13" fmla="*/ 3 h 338"/>
                  <a:gd name="T14" fmla="*/ 18 w 217"/>
                  <a:gd name="T15" fmla="*/ 0 h 338"/>
                  <a:gd name="T16" fmla="*/ 27 w 217"/>
                  <a:gd name="T17" fmla="*/ 66 h 338"/>
                  <a:gd name="T18" fmla="*/ 90 w 217"/>
                  <a:gd name="T19" fmla="*/ 80 h 338"/>
                  <a:gd name="T20" fmla="*/ 106 w 217"/>
                  <a:gd name="T21" fmla="*/ 102 h 338"/>
                  <a:gd name="T22" fmla="*/ 117 w 217"/>
                  <a:gd name="T23" fmla="*/ 141 h 338"/>
                  <a:gd name="T24" fmla="*/ 94 w 217"/>
                  <a:gd name="T25" fmla="*/ 189 h 338"/>
                  <a:gd name="T26" fmla="*/ 84 w 217"/>
                  <a:gd name="T27" fmla="*/ 230 h 338"/>
                  <a:gd name="T28" fmla="*/ 92 w 217"/>
                  <a:gd name="T29" fmla="*/ 280 h 338"/>
                  <a:gd name="T30" fmla="*/ 112 w 217"/>
                  <a:gd name="T31" fmla="*/ 338 h 338"/>
                  <a:gd name="T32" fmla="*/ 141 w 217"/>
                  <a:gd name="T33" fmla="*/ 337 h 338"/>
                  <a:gd name="T34" fmla="*/ 130 w 217"/>
                  <a:gd name="T35" fmla="*/ 228 h 338"/>
                  <a:gd name="T36" fmla="*/ 193 w 217"/>
                  <a:gd name="T37" fmla="*/ 333 h 338"/>
                  <a:gd name="T38" fmla="*/ 217 w 217"/>
                  <a:gd name="T39" fmla="*/ 323 h 338"/>
                  <a:gd name="T40" fmla="*/ 172 w 217"/>
                  <a:gd name="T41" fmla="*/ 225 h 338"/>
                  <a:gd name="T42" fmla="*/ 199 w 217"/>
                  <a:gd name="T43" fmla="*/ 155 h 338"/>
                  <a:gd name="T44" fmla="*/ 192 w 217"/>
                  <a:gd name="T45" fmla="*/ 10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7" h="338">
                    <a:moveTo>
                      <a:pt x="192" y="109"/>
                    </a:moveTo>
                    <a:cubicBezTo>
                      <a:pt x="189" y="103"/>
                      <a:pt x="187" y="96"/>
                      <a:pt x="184" y="90"/>
                    </a:cubicBezTo>
                    <a:cubicBezTo>
                      <a:pt x="179" y="78"/>
                      <a:pt x="173" y="65"/>
                      <a:pt x="165" y="54"/>
                    </a:cubicBezTo>
                    <a:cubicBezTo>
                      <a:pt x="161" y="48"/>
                      <a:pt x="155" y="43"/>
                      <a:pt x="148" y="39"/>
                    </a:cubicBezTo>
                    <a:cubicBezTo>
                      <a:pt x="128" y="27"/>
                      <a:pt x="105" y="33"/>
                      <a:pt x="86" y="42"/>
                    </a:cubicBezTo>
                    <a:cubicBezTo>
                      <a:pt x="74" y="49"/>
                      <a:pt x="59" y="57"/>
                      <a:pt x="46" y="46"/>
                    </a:cubicBezTo>
                    <a:cubicBezTo>
                      <a:pt x="46" y="46"/>
                      <a:pt x="32" y="35"/>
                      <a:pt x="36" y="3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0" y="37"/>
                      <a:pt x="27" y="66"/>
                    </a:cubicBezTo>
                    <a:cubicBezTo>
                      <a:pt x="27" y="66"/>
                      <a:pt x="53" y="93"/>
                      <a:pt x="90" y="80"/>
                    </a:cubicBezTo>
                    <a:cubicBezTo>
                      <a:pt x="96" y="78"/>
                      <a:pt x="104" y="99"/>
                      <a:pt x="106" y="102"/>
                    </a:cubicBezTo>
                    <a:cubicBezTo>
                      <a:pt x="112" y="114"/>
                      <a:pt x="117" y="127"/>
                      <a:pt x="117" y="141"/>
                    </a:cubicBezTo>
                    <a:cubicBezTo>
                      <a:pt x="117" y="159"/>
                      <a:pt x="102" y="173"/>
                      <a:pt x="94" y="189"/>
                    </a:cubicBezTo>
                    <a:cubicBezTo>
                      <a:pt x="87" y="202"/>
                      <a:pt x="84" y="216"/>
                      <a:pt x="84" y="230"/>
                    </a:cubicBezTo>
                    <a:cubicBezTo>
                      <a:pt x="85" y="245"/>
                      <a:pt x="87" y="266"/>
                      <a:pt x="92" y="280"/>
                    </a:cubicBezTo>
                    <a:cubicBezTo>
                      <a:pt x="99" y="301"/>
                      <a:pt x="105" y="317"/>
                      <a:pt x="112" y="338"/>
                    </a:cubicBezTo>
                    <a:cubicBezTo>
                      <a:pt x="141" y="337"/>
                      <a:pt x="141" y="337"/>
                      <a:pt x="141" y="337"/>
                    </a:cubicBezTo>
                    <a:cubicBezTo>
                      <a:pt x="141" y="337"/>
                      <a:pt x="118" y="273"/>
                      <a:pt x="130" y="228"/>
                    </a:cubicBezTo>
                    <a:cubicBezTo>
                      <a:pt x="130" y="228"/>
                      <a:pt x="135" y="278"/>
                      <a:pt x="193" y="333"/>
                    </a:cubicBezTo>
                    <a:cubicBezTo>
                      <a:pt x="217" y="323"/>
                      <a:pt x="217" y="323"/>
                      <a:pt x="217" y="323"/>
                    </a:cubicBezTo>
                    <a:cubicBezTo>
                      <a:pt x="217" y="323"/>
                      <a:pt x="170" y="258"/>
                      <a:pt x="172" y="225"/>
                    </a:cubicBezTo>
                    <a:cubicBezTo>
                      <a:pt x="173" y="196"/>
                      <a:pt x="195" y="179"/>
                      <a:pt x="199" y="155"/>
                    </a:cubicBezTo>
                    <a:cubicBezTo>
                      <a:pt x="202" y="135"/>
                      <a:pt x="196" y="122"/>
                      <a:pt x="192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83506CD1-CA42-48C3-988B-38B6A7B26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9563" y="-1193800"/>
                <a:ext cx="482600" cy="406400"/>
              </a:xfrm>
              <a:custGeom>
                <a:avLst/>
                <a:gdLst>
                  <a:gd name="T0" fmla="*/ 17 w 203"/>
                  <a:gd name="T1" fmla="*/ 171 h 171"/>
                  <a:gd name="T2" fmla="*/ 172 w 203"/>
                  <a:gd name="T3" fmla="*/ 56 h 171"/>
                  <a:gd name="T4" fmla="*/ 191 w 203"/>
                  <a:gd name="T5" fmla="*/ 17 h 171"/>
                  <a:gd name="T6" fmla="*/ 143 w 203"/>
                  <a:gd name="T7" fmla="*/ 36 h 171"/>
                  <a:gd name="T8" fmla="*/ 0 w 203"/>
                  <a:gd name="T9" fmla="*/ 168 h 171"/>
                  <a:gd name="T10" fmla="*/ 17 w 203"/>
                  <a:gd name="T1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3" h="171">
                    <a:moveTo>
                      <a:pt x="17" y="171"/>
                    </a:moveTo>
                    <a:cubicBezTo>
                      <a:pt x="172" y="56"/>
                      <a:pt x="172" y="56"/>
                      <a:pt x="172" y="56"/>
                    </a:cubicBezTo>
                    <a:cubicBezTo>
                      <a:pt x="172" y="56"/>
                      <a:pt x="203" y="34"/>
                      <a:pt x="191" y="17"/>
                    </a:cubicBezTo>
                    <a:cubicBezTo>
                      <a:pt x="191" y="17"/>
                      <a:pt x="181" y="0"/>
                      <a:pt x="143" y="36"/>
                    </a:cubicBezTo>
                    <a:cubicBezTo>
                      <a:pt x="0" y="168"/>
                      <a:pt x="0" y="168"/>
                      <a:pt x="0" y="168"/>
                    </a:cubicBezTo>
                    <a:lnTo>
                      <a:pt x="17" y="1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77ED04A0-2B47-4A13-B063-94EC80010B9A}"/>
                </a:ext>
              </a:extLst>
            </p:cNvPr>
            <p:cNvGrpSpPr/>
            <p:nvPr/>
          </p:nvGrpSpPr>
          <p:grpSpPr>
            <a:xfrm>
              <a:off x="6949281" y="5054179"/>
              <a:ext cx="931863" cy="976313"/>
              <a:chOff x="5992813" y="-968375"/>
              <a:chExt cx="931863" cy="976313"/>
            </a:xfrm>
            <a:solidFill>
              <a:schemeClr val="bg1"/>
            </a:solidFill>
          </p:grpSpPr>
          <p:sp>
            <p:nvSpPr>
              <p:cNvPr id="52" name="Freeform 60">
                <a:extLst>
                  <a:ext uri="{FF2B5EF4-FFF2-40B4-BE49-F238E27FC236}">
                    <a16:creationId xmlns:a16="http://schemas.microsoft.com/office/drawing/2014/main" id="{84FB1B63-EFA7-4C72-973B-4E5D646BB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6" y="-968375"/>
                <a:ext cx="207963" cy="211138"/>
              </a:xfrm>
              <a:custGeom>
                <a:avLst/>
                <a:gdLst>
                  <a:gd name="T0" fmla="*/ 81 w 88"/>
                  <a:gd name="T1" fmla="*/ 32 h 89"/>
                  <a:gd name="T2" fmla="*/ 56 w 88"/>
                  <a:gd name="T3" fmla="*/ 82 h 89"/>
                  <a:gd name="T4" fmla="*/ 6 w 88"/>
                  <a:gd name="T5" fmla="*/ 57 h 89"/>
                  <a:gd name="T6" fmla="*/ 31 w 88"/>
                  <a:gd name="T7" fmla="*/ 7 h 89"/>
                  <a:gd name="T8" fmla="*/ 81 w 88"/>
                  <a:gd name="T9" fmla="*/ 3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89">
                    <a:moveTo>
                      <a:pt x="81" y="32"/>
                    </a:moveTo>
                    <a:cubicBezTo>
                      <a:pt x="88" y="53"/>
                      <a:pt x="77" y="75"/>
                      <a:pt x="56" y="82"/>
                    </a:cubicBezTo>
                    <a:cubicBezTo>
                      <a:pt x="36" y="89"/>
                      <a:pt x="13" y="77"/>
                      <a:pt x="6" y="57"/>
                    </a:cubicBezTo>
                    <a:cubicBezTo>
                      <a:pt x="0" y="36"/>
                      <a:pt x="11" y="14"/>
                      <a:pt x="31" y="7"/>
                    </a:cubicBezTo>
                    <a:cubicBezTo>
                      <a:pt x="52" y="0"/>
                      <a:pt x="74" y="11"/>
                      <a:pt x="81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" name="Freeform 61">
                <a:extLst>
                  <a:ext uri="{FF2B5EF4-FFF2-40B4-BE49-F238E27FC236}">
                    <a16:creationId xmlns:a16="http://schemas.microsoft.com/office/drawing/2014/main" id="{18DFA961-B7F8-4124-9919-6562F0BE4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601" y="-781050"/>
                <a:ext cx="620713" cy="788988"/>
              </a:xfrm>
              <a:custGeom>
                <a:avLst/>
                <a:gdLst>
                  <a:gd name="T0" fmla="*/ 51 w 261"/>
                  <a:gd name="T1" fmla="*/ 99 h 332"/>
                  <a:gd name="T2" fmla="*/ 51 w 261"/>
                  <a:gd name="T3" fmla="*/ 99 h 332"/>
                  <a:gd name="T4" fmla="*/ 58 w 261"/>
                  <a:gd name="T5" fmla="*/ 84 h 332"/>
                  <a:gd name="T6" fmla="*/ 58 w 261"/>
                  <a:gd name="T7" fmla="*/ 84 h 332"/>
                  <a:gd name="T8" fmla="*/ 58 w 261"/>
                  <a:gd name="T9" fmla="*/ 83 h 332"/>
                  <a:gd name="T10" fmla="*/ 73 w 261"/>
                  <a:gd name="T11" fmla="*/ 37 h 332"/>
                  <a:gd name="T12" fmla="*/ 107 w 261"/>
                  <a:gd name="T13" fmla="*/ 5 h 332"/>
                  <a:gd name="T14" fmla="*/ 171 w 261"/>
                  <a:gd name="T15" fmla="*/ 13 h 332"/>
                  <a:gd name="T16" fmla="*/ 206 w 261"/>
                  <a:gd name="T17" fmla="*/ 24 h 332"/>
                  <a:gd name="T18" fmla="*/ 221 w 261"/>
                  <a:gd name="T19" fmla="*/ 40 h 332"/>
                  <a:gd name="T20" fmla="*/ 231 w 261"/>
                  <a:gd name="T21" fmla="*/ 102 h 332"/>
                  <a:gd name="T22" fmla="*/ 215 w 261"/>
                  <a:gd name="T23" fmla="*/ 105 h 332"/>
                  <a:gd name="T24" fmla="*/ 194 w 261"/>
                  <a:gd name="T25" fmla="*/ 49 h 332"/>
                  <a:gd name="T26" fmla="*/ 161 w 261"/>
                  <a:gd name="T27" fmla="*/ 44 h 332"/>
                  <a:gd name="T28" fmla="*/ 195 w 261"/>
                  <a:gd name="T29" fmla="*/ 108 h 332"/>
                  <a:gd name="T30" fmla="*/ 220 w 261"/>
                  <a:gd name="T31" fmla="*/ 152 h 332"/>
                  <a:gd name="T32" fmla="*/ 245 w 261"/>
                  <a:gd name="T33" fmla="*/ 213 h 332"/>
                  <a:gd name="T34" fmla="*/ 191 w 261"/>
                  <a:gd name="T35" fmla="*/ 187 h 332"/>
                  <a:gd name="T36" fmla="*/ 172 w 261"/>
                  <a:gd name="T37" fmla="*/ 165 h 332"/>
                  <a:gd name="T38" fmla="*/ 159 w 261"/>
                  <a:gd name="T39" fmla="*/ 159 h 332"/>
                  <a:gd name="T40" fmla="*/ 149 w 261"/>
                  <a:gd name="T41" fmla="*/ 168 h 332"/>
                  <a:gd name="T42" fmla="*/ 122 w 261"/>
                  <a:gd name="T43" fmla="*/ 221 h 332"/>
                  <a:gd name="T44" fmla="*/ 125 w 261"/>
                  <a:gd name="T45" fmla="*/ 271 h 332"/>
                  <a:gd name="T46" fmla="*/ 131 w 261"/>
                  <a:gd name="T47" fmla="*/ 315 h 332"/>
                  <a:gd name="T48" fmla="*/ 133 w 261"/>
                  <a:gd name="T49" fmla="*/ 332 h 332"/>
                  <a:gd name="T50" fmla="*/ 107 w 261"/>
                  <a:gd name="T51" fmla="*/ 332 h 332"/>
                  <a:gd name="T52" fmla="*/ 93 w 261"/>
                  <a:gd name="T53" fmla="*/ 275 h 332"/>
                  <a:gd name="T54" fmla="*/ 86 w 261"/>
                  <a:gd name="T55" fmla="*/ 212 h 332"/>
                  <a:gd name="T56" fmla="*/ 97 w 261"/>
                  <a:gd name="T57" fmla="*/ 178 h 332"/>
                  <a:gd name="T58" fmla="*/ 110 w 261"/>
                  <a:gd name="T59" fmla="*/ 145 h 332"/>
                  <a:gd name="T60" fmla="*/ 113 w 261"/>
                  <a:gd name="T61" fmla="*/ 138 h 332"/>
                  <a:gd name="T62" fmla="*/ 91 w 261"/>
                  <a:gd name="T63" fmla="*/ 71 h 332"/>
                  <a:gd name="T64" fmla="*/ 77 w 261"/>
                  <a:gd name="T65" fmla="*/ 110 h 332"/>
                  <a:gd name="T66" fmla="*/ 59 w 261"/>
                  <a:gd name="T67" fmla="*/ 122 h 332"/>
                  <a:gd name="T68" fmla="*/ 0 w 261"/>
                  <a:gd name="T69" fmla="*/ 118 h 332"/>
                  <a:gd name="T70" fmla="*/ 1 w 261"/>
                  <a:gd name="T71" fmla="*/ 105 h 332"/>
                  <a:gd name="T72" fmla="*/ 51 w 261"/>
                  <a:gd name="T73" fmla="*/ 9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1" h="332">
                    <a:moveTo>
                      <a:pt x="51" y="99"/>
                    </a:moveTo>
                    <a:cubicBezTo>
                      <a:pt x="51" y="99"/>
                      <a:pt x="51" y="99"/>
                      <a:pt x="51" y="99"/>
                    </a:cubicBezTo>
                    <a:cubicBezTo>
                      <a:pt x="53" y="98"/>
                      <a:pt x="54" y="96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8" y="83"/>
                      <a:pt x="68" y="49"/>
                      <a:pt x="73" y="37"/>
                    </a:cubicBezTo>
                    <a:cubicBezTo>
                      <a:pt x="79" y="21"/>
                      <a:pt x="90" y="10"/>
                      <a:pt x="107" y="5"/>
                    </a:cubicBezTo>
                    <a:cubicBezTo>
                      <a:pt x="126" y="0"/>
                      <a:pt x="149" y="7"/>
                      <a:pt x="171" y="13"/>
                    </a:cubicBezTo>
                    <a:cubicBezTo>
                      <a:pt x="182" y="16"/>
                      <a:pt x="196" y="19"/>
                      <a:pt x="206" y="24"/>
                    </a:cubicBezTo>
                    <a:cubicBezTo>
                      <a:pt x="206" y="24"/>
                      <a:pt x="218" y="27"/>
                      <a:pt x="221" y="40"/>
                    </a:cubicBezTo>
                    <a:cubicBezTo>
                      <a:pt x="231" y="102"/>
                      <a:pt x="231" y="102"/>
                      <a:pt x="231" y="102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94" y="49"/>
                      <a:pt x="194" y="49"/>
                      <a:pt x="194" y="49"/>
                    </a:cubicBezTo>
                    <a:cubicBezTo>
                      <a:pt x="190" y="49"/>
                      <a:pt x="170" y="45"/>
                      <a:pt x="161" y="44"/>
                    </a:cubicBezTo>
                    <a:cubicBezTo>
                      <a:pt x="166" y="53"/>
                      <a:pt x="182" y="83"/>
                      <a:pt x="195" y="108"/>
                    </a:cubicBezTo>
                    <a:cubicBezTo>
                      <a:pt x="203" y="123"/>
                      <a:pt x="212" y="137"/>
                      <a:pt x="220" y="152"/>
                    </a:cubicBezTo>
                    <a:cubicBezTo>
                      <a:pt x="226" y="163"/>
                      <a:pt x="261" y="211"/>
                      <a:pt x="245" y="213"/>
                    </a:cubicBezTo>
                    <a:cubicBezTo>
                      <a:pt x="222" y="216"/>
                      <a:pt x="205" y="204"/>
                      <a:pt x="191" y="187"/>
                    </a:cubicBezTo>
                    <a:cubicBezTo>
                      <a:pt x="185" y="180"/>
                      <a:pt x="178" y="172"/>
                      <a:pt x="172" y="165"/>
                    </a:cubicBezTo>
                    <a:cubicBezTo>
                      <a:pt x="169" y="161"/>
                      <a:pt x="163" y="158"/>
                      <a:pt x="159" y="159"/>
                    </a:cubicBezTo>
                    <a:cubicBezTo>
                      <a:pt x="154" y="160"/>
                      <a:pt x="151" y="164"/>
                      <a:pt x="149" y="168"/>
                    </a:cubicBezTo>
                    <a:cubicBezTo>
                      <a:pt x="139" y="184"/>
                      <a:pt x="129" y="203"/>
                      <a:pt x="122" y="221"/>
                    </a:cubicBezTo>
                    <a:cubicBezTo>
                      <a:pt x="117" y="235"/>
                      <a:pt x="122" y="257"/>
                      <a:pt x="125" y="271"/>
                    </a:cubicBezTo>
                    <a:cubicBezTo>
                      <a:pt x="127" y="288"/>
                      <a:pt x="128" y="298"/>
                      <a:pt x="131" y="315"/>
                    </a:cubicBezTo>
                    <a:cubicBezTo>
                      <a:pt x="131" y="317"/>
                      <a:pt x="133" y="330"/>
                      <a:pt x="133" y="332"/>
                    </a:cubicBezTo>
                    <a:cubicBezTo>
                      <a:pt x="107" y="332"/>
                      <a:pt x="107" y="332"/>
                      <a:pt x="107" y="332"/>
                    </a:cubicBezTo>
                    <a:cubicBezTo>
                      <a:pt x="103" y="315"/>
                      <a:pt x="97" y="292"/>
                      <a:pt x="93" y="275"/>
                    </a:cubicBezTo>
                    <a:cubicBezTo>
                      <a:pt x="88" y="256"/>
                      <a:pt x="81" y="233"/>
                      <a:pt x="86" y="212"/>
                    </a:cubicBezTo>
                    <a:cubicBezTo>
                      <a:pt x="89" y="200"/>
                      <a:pt x="92" y="189"/>
                      <a:pt x="97" y="178"/>
                    </a:cubicBezTo>
                    <a:cubicBezTo>
                      <a:pt x="102" y="166"/>
                      <a:pt x="106" y="157"/>
                      <a:pt x="110" y="145"/>
                    </a:cubicBezTo>
                    <a:cubicBezTo>
                      <a:pt x="111" y="144"/>
                      <a:pt x="113" y="139"/>
                      <a:pt x="113" y="138"/>
                    </a:cubicBezTo>
                    <a:cubicBezTo>
                      <a:pt x="113" y="138"/>
                      <a:pt x="91" y="71"/>
                      <a:pt x="91" y="71"/>
                    </a:cubicBezTo>
                    <a:cubicBezTo>
                      <a:pt x="77" y="110"/>
                      <a:pt x="77" y="110"/>
                      <a:pt x="77" y="110"/>
                    </a:cubicBezTo>
                    <a:cubicBezTo>
                      <a:pt x="77" y="109"/>
                      <a:pt x="75" y="121"/>
                      <a:pt x="59" y="122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05"/>
                      <a:pt x="1" y="105"/>
                      <a:pt x="1" y="105"/>
                    </a:cubicBezTo>
                    <a:lnTo>
                      <a:pt x="5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" name="Freeform 62">
                <a:extLst>
                  <a:ext uri="{FF2B5EF4-FFF2-40B4-BE49-F238E27FC236}">
                    <a16:creationId xmlns:a16="http://schemas.microsoft.com/office/drawing/2014/main" id="{775C77ED-7263-4B7A-BAF6-7228E1DAA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-676275"/>
                <a:ext cx="349250" cy="674688"/>
              </a:xfrm>
              <a:custGeom>
                <a:avLst/>
                <a:gdLst>
                  <a:gd name="T0" fmla="*/ 2 w 147"/>
                  <a:gd name="T1" fmla="*/ 0 h 284"/>
                  <a:gd name="T2" fmla="*/ 147 w 147"/>
                  <a:gd name="T3" fmla="*/ 282 h 284"/>
                  <a:gd name="T4" fmla="*/ 119 w 147"/>
                  <a:gd name="T5" fmla="*/ 284 h 284"/>
                  <a:gd name="T6" fmla="*/ 0 w 147"/>
                  <a:gd name="T7" fmla="*/ 115 h 284"/>
                  <a:gd name="T8" fmla="*/ 2 w 147"/>
                  <a:gd name="T9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284">
                    <a:moveTo>
                      <a:pt x="2" y="0"/>
                    </a:moveTo>
                    <a:cubicBezTo>
                      <a:pt x="2" y="0"/>
                      <a:pt x="121" y="202"/>
                      <a:pt x="147" y="282"/>
                    </a:cubicBezTo>
                    <a:cubicBezTo>
                      <a:pt x="119" y="284"/>
                      <a:pt x="119" y="284"/>
                      <a:pt x="119" y="284"/>
                    </a:cubicBezTo>
                    <a:cubicBezTo>
                      <a:pt x="119" y="284"/>
                      <a:pt x="23" y="111"/>
                      <a:pt x="0" y="115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" name="Freeform 63">
                <a:extLst>
                  <a:ext uri="{FF2B5EF4-FFF2-40B4-BE49-F238E27FC236}">
                    <a16:creationId xmlns:a16="http://schemas.microsoft.com/office/drawing/2014/main" id="{4BFC6365-FB16-4519-A14E-A9E1903B91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92813" y="-819150"/>
                <a:ext cx="171450" cy="190500"/>
              </a:xfrm>
              <a:custGeom>
                <a:avLst/>
                <a:gdLst>
                  <a:gd name="T0" fmla="*/ 6 w 72"/>
                  <a:gd name="T1" fmla="*/ 56 h 80"/>
                  <a:gd name="T2" fmla="*/ 0 w 72"/>
                  <a:gd name="T3" fmla="*/ 34 h 80"/>
                  <a:gd name="T4" fmla="*/ 0 w 72"/>
                  <a:gd name="T5" fmla="*/ 34 h 80"/>
                  <a:gd name="T6" fmla="*/ 17 w 72"/>
                  <a:gd name="T7" fmla="*/ 4 h 80"/>
                  <a:gd name="T8" fmla="*/ 17 w 72"/>
                  <a:gd name="T9" fmla="*/ 4 h 80"/>
                  <a:gd name="T10" fmla="*/ 31 w 72"/>
                  <a:gd name="T11" fmla="*/ 0 h 80"/>
                  <a:gd name="T12" fmla="*/ 31 w 72"/>
                  <a:gd name="T13" fmla="*/ 0 h 80"/>
                  <a:gd name="T14" fmla="*/ 66 w 72"/>
                  <a:gd name="T15" fmla="*/ 24 h 80"/>
                  <a:gd name="T16" fmla="*/ 66 w 72"/>
                  <a:gd name="T17" fmla="*/ 24 h 80"/>
                  <a:gd name="T18" fmla="*/ 63 w 72"/>
                  <a:gd name="T19" fmla="*/ 26 h 80"/>
                  <a:gd name="T20" fmla="*/ 66 w 72"/>
                  <a:gd name="T21" fmla="*/ 24 h 80"/>
                  <a:gd name="T22" fmla="*/ 72 w 72"/>
                  <a:gd name="T23" fmla="*/ 46 h 80"/>
                  <a:gd name="T24" fmla="*/ 72 w 72"/>
                  <a:gd name="T25" fmla="*/ 46 h 80"/>
                  <a:gd name="T26" fmla="*/ 55 w 72"/>
                  <a:gd name="T27" fmla="*/ 76 h 80"/>
                  <a:gd name="T28" fmla="*/ 55 w 72"/>
                  <a:gd name="T29" fmla="*/ 76 h 80"/>
                  <a:gd name="T30" fmla="*/ 41 w 72"/>
                  <a:gd name="T31" fmla="*/ 80 h 80"/>
                  <a:gd name="T32" fmla="*/ 41 w 72"/>
                  <a:gd name="T33" fmla="*/ 80 h 80"/>
                  <a:gd name="T34" fmla="*/ 6 w 72"/>
                  <a:gd name="T35" fmla="*/ 56 h 80"/>
                  <a:gd name="T36" fmla="*/ 31 w 72"/>
                  <a:gd name="T37" fmla="*/ 8 h 80"/>
                  <a:gd name="T38" fmla="*/ 21 w 72"/>
                  <a:gd name="T39" fmla="*/ 11 h 80"/>
                  <a:gd name="T40" fmla="*/ 21 w 72"/>
                  <a:gd name="T41" fmla="*/ 11 h 80"/>
                  <a:gd name="T42" fmla="*/ 8 w 72"/>
                  <a:gd name="T43" fmla="*/ 34 h 80"/>
                  <a:gd name="T44" fmla="*/ 8 w 72"/>
                  <a:gd name="T45" fmla="*/ 34 h 80"/>
                  <a:gd name="T46" fmla="*/ 13 w 72"/>
                  <a:gd name="T47" fmla="*/ 52 h 80"/>
                  <a:gd name="T48" fmla="*/ 13 w 72"/>
                  <a:gd name="T49" fmla="*/ 52 h 80"/>
                  <a:gd name="T50" fmla="*/ 41 w 72"/>
                  <a:gd name="T51" fmla="*/ 72 h 80"/>
                  <a:gd name="T52" fmla="*/ 41 w 72"/>
                  <a:gd name="T53" fmla="*/ 72 h 80"/>
                  <a:gd name="T54" fmla="*/ 51 w 72"/>
                  <a:gd name="T55" fmla="*/ 69 h 80"/>
                  <a:gd name="T56" fmla="*/ 51 w 72"/>
                  <a:gd name="T57" fmla="*/ 69 h 80"/>
                  <a:gd name="T58" fmla="*/ 64 w 72"/>
                  <a:gd name="T59" fmla="*/ 46 h 80"/>
                  <a:gd name="T60" fmla="*/ 64 w 72"/>
                  <a:gd name="T61" fmla="*/ 46 h 80"/>
                  <a:gd name="T62" fmla="*/ 59 w 72"/>
                  <a:gd name="T63" fmla="*/ 28 h 80"/>
                  <a:gd name="T64" fmla="*/ 59 w 72"/>
                  <a:gd name="T65" fmla="*/ 28 h 80"/>
                  <a:gd name="T66" fmla="*/ 59 w 72"/>
                  <a:gd name="T67" fmla="*/ 28 h 80"/>
                  <a:gd name="T68" fmla="*/ 31 w 72"/>
                  <a:gd name="T69" fmla="*/ 8 h 80"/>
                  <a:gd name="T70" fmla="*/ 31 w 72"/>
                  <a:gd name="T71" fmla="*/ 8 h 80"/>
                  <a:gd name="T72" fmla="*/ 31 w 72"/>
                  <a:gd name="T73" fmla="*/ 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2" h="80">
                    <a:moveTo>
                      <a:pt x="6" y="56"/>
                    </a:moveTo>
                    <a:cubicBezTo>
                      <a:pt x="2" y="49"/>
                      <a:pt x="0" y="41"/>
                      <a:pt x="0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21"/>
                      <a:pt x="6" y="9"/>
                      <a:pt x="1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1" y="1"/>
                      <a:pt x="26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45" y="0"/>
                      <a:pt x="59" y="9"/>
                      <a:pt x="66" y="24"/>
                    </a:cubicBezTo>
                    <a:cubicBezTo>
                      <a:pt x="66" y="24"/>
                      <a:pt x="66" y="24"/>
                      <a:pt x="66" y="24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6" y="24"/>
                      <a:pt x="66" y="24"/>
                      <a:pt x="66" y="24"/>
                    </a:cubicBezTo>
                    <a:cubicBezTo>
                      <a:pt x="70" y="31"/>
                      <a:pt x="72" y="39"/>
                      <a:pt x="72" y="46"/>
                    </a:cubicBezTo>
                    <a:cubicBezTo>
                      <a:pt x="72" y="46"/>
                      <a:pt x="72" y="46"/>
                      <a:pt x="72" y="46"/>
                    </a:cubicBezTo>
                    <a:cubicBezTo>
                      <a:pt x="72" y="59"/>
                      <a:pt x="66" y="71"/>
                      <a:pt x="55" y="76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1" y="79"/>
                      <a:pt x="46" y="80"/>
                      <a:pt x="41" y="80"/>
                    </a:cubicBezTo>
                    <a:cubicBezTo>
                      <a:pt x="41" y="80"/>
                      <a:pt x="41" y="80"/>
                      <a:pt x="41" y="80"/>
                    </a:cubicBezTo>
                    <a:cubicBezTo>
                      <a:pt x="27" y="80"/>
                      <a:pt x="13" y="71"/>
                      <a:pt x="6" y="56"/>
                    </a:cubicBezTo>
                    <a:close/>
                    <a:moveTo>
                      <a:pt x="31" y="8"/>
                    </a:moveTo>
                    <a:cubicBezTo>
                      <a:pt x="27" y="8"/>
                      <a:pt x="24" y="9"/>
                      <a:pt x="21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3" y="15"/>
                      <a:pt x="8" y="2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40"/>
                      <a:pt x="10" y="46"/>
                      <a:pt x="13" y="52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9" y="64"/>
                      <a:pt x="31" y="72"/>
                      <a:pt x="41" y="72"/>
                    </a:cubicBezTo>
                    <a:cubicBezTo>
                      <a:pt x="41" y="72"/>
                      <a:pt x="41" y="72"/>
                      <a:pt x="41" y="72"/>
                    </a:cubicBezTo>
                    <a:cubicBezTo>
                      <a:pt x="45" y="72"/>
                      <a:pt x="48" y="71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9" y="65"/>
                      <a:pt x="64" y="56"/>
                      <a:pt x="64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0"/>
                      <a:pt x="62" y="34"/>
                      <a:pt x="59" y="28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3" y="16"/>
                      <a:pt x="4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" name="Freeform 64">
                <a:extLst>
                  <a:ext uri="{FF2B5EF4-FFF2-40B4-BE49-F238E27FC236}">
                    <a16:creationId xmlns:a16="http://schemas.microsoft.com/office/drawing/2014/main" id="{ECBC2FDC-950C-4254-9D4A-B39360D6E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9488" y="-652462"/>
                <a:ext cx="165100" cy="153988"/>
              </a:xfrm>
              <a:custGeom>
                <a:avLst/>
                <a:gdLst>
                  <a:gd name="T0" fmla="*/ 61 w 69"/>
                  <a:gd name="T1" fmla="*/ 63 h 65"/>
                  <a:gd name="T2" fmla="*/ 42 w 69"/>
                  <a:gd name="T3" fmla="*/ 33 h 65"/>
                  <a:gd name="T4" fmla="*/ 42 w 69"/>
                  <a:gd name="T5" fmla="*/ 33 h 65"/>
                  <a:gd name="T6" fmla="*/ 3 w 69"/>
                  <a:gd name="T7" fmla="*/ 8 h 65"/>
                  <a:gd name="T8" fmla="*/ 3 w 69"/>
                  <a:gd name="T9" fmla="*/ 8 h 65"/>
                  <a:gd name="T10" fmla="*/ 0 w 69"/>
                  <a:gd name="T11" fmla="*/ 3 h 65"/>
                  <a:gd name="T12" fmla="*/ 0 w 69"/>
                  <a:gd name="T13" fmla="*/ 3 h 65"/>
                  <a:gd name="T14" fmla="*/ 5 w 69"/>
                  <a:gd name="T15" fmla="*/ 0 h 65"/>
                  <a:gd name="T16" fmla="*/ 5 w 69"/>
                  <a:gd name="T17" fmla="*/ 0 h 65"/>
                  <a:gd name="T18" fmla="*/ 49 w 69"/>
                  <a:gd name="T19" fmla="*/ 29 h 65"/>
                  <a:gd name="T20" fmla="*/ 49 w 69"/>
                  <a:gd name="T21" fmla="*/ 29 h 65"/>
                  <a:gd name="T22" fmla="*/ 68 w 69"/>
                  <a:gd name="T23" fmla="*/ 58 h 65"/>
                  <a:gd name="T24" fmla="*/ 68 w 69"/>
                  <a:gd name="T25" fmla="*/ 58 h 65"/>
                  <a:gd name="T26" fmla="*/ 66 w 69"/>
                  <a:gd name="T27" fmla="*/ 64 h 65"/>
                  <a:gd name="T28" fmla="*/ 66 w 69"/>
                  <a:gd name="T29" fmla="*/ 64 h 65"/>
                  <a:gd name="T30" fmla="*/ 64 w 69"/>
                  <a:gd name="T31" fmla="*/ 65 h 65"/>
                  <a:gd name="T32" fmla="*/ 64 w 69"/>
                  <a:gd name="T33" fmla="*/ 65 h 65"/>
                  <a:gd name="T34" fmla="*/ 61 w 69"/>
                  <a:gd name="T35" fmla="*/ 6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9" h="65">
                    <a:moveTo>
                      <a:pt x="61" y="63"/>
                    </a:moveTo>
                    <a:cubicBezTo>
                      <a:pt x="54" y="51"/>
                      <a:pt x="47" y="41"/>
                      <a:pt x="42" y="33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32" y="18"/>
                      <a:pt x="24" y="12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8"/>
                      <a:pt x="0" y="6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7" y="4"/>
                      <a:pt x="39" y="12"/>
                      <a:pt x="49" y="29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4" y="37"/>
                      <a:pt x="61" y="46"/>
                      <a:pt x="68" y="58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69" y="60"/>
                      <a:pt x="68" y="63"/>
                      <a:pt x="66" y="64"/>
                    </a:cubicBezTo>
                    <a:cubicBezTo>
                      <a:pt x="66" y="64"/>
                      <a:pt x="66" y="64"/>
                      <a:pt x="66" y="64"/>
                    </a:cubicBezTo>
                    <a:cubicBezTo>
                      <a:pt x="66" y="64"/>
                      <a:pt x="65" y="65"/>
                      <a:pt x="64" y="65"/>
                    </a:cubicBezTo>
                    <a:cubicBezTo>
                      <a:pt x="64" y="65"/>
                      <a:pt x="64" y="65"/>
                      <a:pt x="64" y="65"/>
                    </a:cubicBezTo>
                    <a:cubicBezTo>
                      <a:pt x="63" y="65"/>
                      <a:pt x="61" y="64"/>
                      <a:pt x="6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" name="Freeform 65">
                <a:extLst>
                  <a:ext uri="{FF2B5EF4-FFF2-40B4-BE49-F238E27FC236}">
                    <a16:creationId xmlns:a16="http://schemas.microsoft.com/office/drawing/2014/main" id="{1DCAE202-0446-4349-8CD4-4085EE69D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688" y="-692150"/>
                <a:ext cx="33338" cy="107950"/>
              </a:xfrm>
              <a:custGeom>
                <a:avLst/>
                <a:gdLst>
                  <a:gd name="T0" fmla="*/ 5 w 14"/>
                  <a:gd name="T1" fmla="*/ 43 h 46"/>
                  <a:gd name="T2" fmla="*/ 0 w 14"/>
                  <a:gd name="T3" fmla="*/ 18 h 46"/>
                  <a:gd name="T4" fmla="*/ 0 w 14"/>
                  <a:gd name="T5" fmla="*/ 18 h 46"/>
                  <a:gd name="T6" fmla="*/ 2 w 14"/>
                  <a:gd name="T7" fmla="*/ 3 h 46"/>
                  <a:gd name="T8" fmla="*/ 2 w 14"/>
                  <a:gd name="T9" fmla="*/ 3 h 46"/>
                  <a:gd name="T10" fmla="*/ 2 w 14"/>
                  <a:gd name="T11" fmla="*/ 3 h 46"/>
                  <a:gd name="T12" fmla="*/ 7 w 14"/>
                  <a:gd name="T13" fmla="*/ 1 h 46"/>
                  <a:gd name="T14" fmla="*/ 7 w 14"/>
                  <a:gd name="T15" fmla="*/ 1 h 46"/>
                  <a:gd name="T16" fmla="*/ 10 w 14"/>
                  <a:gd name="T17" fmla="*/ 6 h 46"/>
                  <a:gd name="T18" fmla="*/ 10 w 14"/>
                  <a:gd name="T19" fmla="*/ 6 h 46"/>
                  <a:gd name="T20" fmla="*/ 9 w 14"/>
                  <a:gd name="T21" fmla="*/ 9 h 46"/>
                  <a:gd name="T22" fmla="*/ 9 w 14"/>
                  <a:gd name="T23" fmla="*/ 9 h 46"/>
                  <a:gd name="T24" fmla="*/ 8 w 14"/>
                  <a:gd name="T25" fmla="*/ 18 h 46"/>
                  <a:gd name="T26" fmla="*/ 8 w 14"/>
                  <a:gd name="T27" fmla="*/ 18 h 46"/>
                  <a:gd name="T28" fmla="*/ 13 w 14"/>
                  <a:gd name="T29" fmla="*/ 40 h 46"/>
                  <a:gd name="T30" fmla="*/ 13 w 14"/>
                  <a:gd name="T31" fmla="*/ 40 h 46"/>
                  <a:gd name="T32" fmla="*/ 10 w 14"/>
                  <a:gd name="T33" fmla="*/ 46 h 46"/>
                  <a:gd name="T34" fmla="*/ 10 w 14"/>
                  <a:gd name="T35" fmla="*/ 46 h 46"/>
                  <a:gd name="T36" fmla="*/ 9 w 14"/>
                  <a:gd name="T37" fmla="*/ 46 h 46"/>
                  <a:gd name="T38" fmla="*/ 9 w 14"/>
                  <a:gd name="T39" fmla="*/ 46 h 46"/>
                  <a:gd name="T40" fmla="*/ 5 w 14"/>
                  <a:gd name="T41" fmla="*/ 4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46">
                    <a:moveTo>
                      <a:pt x="5" y="43"/>
                    </a:moveTo>
                    <a:cubicBezTo>
                      <a:pt x="1" y="34"/>
                      <a:pt x="0" y="25"/>
                      <a:pt x="0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1"/>
                      <a:pt x="5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10" y="1"/>
                      <a:pt x="11" y="4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7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11"/>
                      <a:pt x="8" y="14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24"/>
                      <a:pt x="9" y="32"/>
                      <a:pt x="13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42"/>
                      <a:pt x="13" y="45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9" y="46"/>
                      <a:pt x="9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7" y="46"/>
                      <a:pt x="6" y="45"/>
                      <a:pt x="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420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654437" y="1736537"/>
            <a:ext cx="172354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平衡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表达孰轻孰重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6EF1472-9BF2-4594-80C0-8EEE4F620011}"/>
              </a:ext>
            </a:extLst>
          </p:cNvPr>
          <p:cNvSpPr txBox="1"/>
          <p:nvPr/>
        </p:nvSpPr>
        <p:spPr>
          <a:xfrm>
            <a:off x="654437" y="2664366"/>
            <a:ext cx="478528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一般使用天平或跷跷板表示状态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用标题进行进一步说明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在天平两边的物体上加简略的文字说明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294E401-2BBA-4987-A4CA-620C87D9CA26}"/>
              </a:ext>
            </a:extLst>
          </p:cNvPr>
          <p:cNvSpPr txBox="1"/>
          <p:nvPr/>
        </p:nvSpPr>
        <p:spPr>
          <a:xfrm>
            <a:off x="654437" y="4212851"/>
            <a:ext cx="172354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特征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天平或跷跷板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grpSp>
        <p:nvGrpSpPr>
          <p:cNvPr id="11" name="Group 1">
            <a:extLst>
              <a:ext uri="{FF2B5EF4-FFF2-40B4-BE49-F238E27FC236}">
                <a16:creationId xmlns:a16="http://schemas.microsoft.com/office/drawing/2014/main" id="{1A38EADA-C0F5-4FA2-93BB-834E67C197FE}"/>
              </a:ext>
            </a:extLst>
          </p:cNvPr>
          <p:cNvGrpSpPr>
            <a:grpSpLocks/>
          </p:cNvGrpSpPr>
          <p:nvPr/>
        </p:nvGrpSpPr>
        <p:grpSpPr bwMode="auto">
          <a:xfrm>
            <a:off x="5663559" y="1524541"/>
            <a:ext cx="5446712" cy="4214812"/>
            <a:chOff x="1198035" y="1728523"/>
            <a:chExt cx="5447338" cy="4215078"/>
          </a:xfrm>
        </p:grpSpPr>
        <p:grpSp>
          <p:nvGrpSpPr>
            <p:cNvPr id="12" name="Group 2">
              <a:extLst>
                <a:ext uri="{FF2B5EF4-FFF2-40B4-BE49-F238E27FC236}">
                  <a16:creationId xmlns:a16="http://schemas.microsoft.com/office/drawing/2014/main" id="{53828B01-39A3-4478-B10B-24228817C6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98035" y="1728523"/>
              <a:ext cx="5447338" cy="4215078"/>
              <a:chOff x="2893485" y="1696067"/>
              <a:chExt cx="6047316" cy="4679333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04685EA1-EE61-47A4-B89B-F60542EB0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784" y="1908659"/>
                <a:ext cx="3972235" cy="1053717"/>
              </a:xfrm>
              <a:custGeom>
                <a:avLst/>
                <a:gdLst>
                  <a:gd name="T0" fmla="*/ 0 w 1719"/>
                  <a:gd name="T1" fmla="*/ 2147483646 h 456"/>
                  <a:gd name="T2" fmla="*/ 2147483646 w 1719"/>
                  <a:gd name="T3" fmla="*/ 0 h 456"/>
                  <a:gd name="T4" fmla="*/ 0 w 1719"/>
                  <a:gd name="T5" fmla="*/ 2147483646 h 45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719" h="456">
                    <a:moveTo>
                      <a:pt x="0" y="456"/>
                    </a:moveTo>
                    <a:lnTo>
                      <a:pt x="1719" y="0"/>
                    </a:lnTo>
                    <a:lnTo>
                      <a:pt x="0" y="456"/>
                    </a:lnTo>
                    <a:close/>
                  </a:path>
                </a:pathLst>
              </a:custGeom>
              <a:solidFill>
                <a:srgbClr val="40A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CN" altLang="en-US"/>
              </a:p>
            </p:txBody>
          </p:sp>
          <p:sp>
            <p:nvSpPr>
              <p:cNvPr id="16" name="Line 6">
                <a:extLst>
                  <a:ext uri="{FF2B5EF4-FFF2-40B4-BE49-F238E27FC236}">
                    <a16:creationId xmlns:a16="http://schemas.microsoft.com/office/drawing/2014/main" id="{5342480A-C517-48F4-9B70-234771BE84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750085" y="1909324"/>
                <a:ext cx="3972793" cy="1052190"/>
              </a:xfrm>
              <a:prstGeom prst="line">
                <a:avLst/>
              </a:prstGeom>
              <a:noFill/>
              <a:ln w="57150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161B2D3F-BE83-4795-8F6A-FA8D21B10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347" y="3017913"/>
                <a:ext cx="1982872" cy="2287674"/>
              </a:xfrm>
              <a:custGeom>
                <a:avLst/>
                <a:gdLst>
                  <a:gd name="T0" fmla="*/ 415 w 858"/>
                  <a:gd name="T1" fmla="*/ 0 h 990"/>
                  <a:gd name="T2" fmla="*/ 0 w 858"/>
                  <a:gd name="T3" fmla="*/ 990 h 990"/>
                  <a:gd name="T4" fmla="*/ 858 w 858"/>
                  <a:gd name="T5" fmla="*/ 990 h 990"/>
                  <a:gd name="T6" fmla="*/ 415 w 858"/>
                  <a:gd name="T7" fmla="*/ 0 h 9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58" h="990">
                    <a:moveTo>
                      <a:pt x="415" y="0"/>
                    </a:moveTo>
                    <a:lnTo>
                      <a:pt x="0" y="990"/>
                    </a:lnTo>
                    <a:lnTo>
                      <a:pt x="858" y="990"/>
                    </a:lnTo>
                    <a:lnTo>
                      <a:pt x="415" y="0"/>
                    </a:lnTo>
                    <a:close/>
                  </a:path>
                </a:pathLst>
              </a:custGeom>
              <a:noFill/>
              <a:ln w="4" cap="flat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2B10CC83-9D13-418A-959D-529AEB3A1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0916" y="1963961"/>
                <a:ext cx="1982872" cy="2289436"/>
              </a:xfrm>
              <a:custGeom>
                <a:avLst/>
                <a:gdLst>
                  <a:gd name="T0" fmla="*/ 413 w 858"/>
                  <a:gd name="T1" fmla="*/ 0 h 991"/>
                  <a:gd name="T2" fmla="*/ 0 w 858"/>
                  <a:gd name="T3" fmla="*/ 991 h 991"/>
                  <a:gd name="T4" fmla="*/ 858 w 858"/>
                  <a:gd name="T5" fmla="*/ 991 h 991"/>
                  <a:gd name="T6" fmla="*/ 413 w 858"/>
                  <a:gd name="T7" fmla="*/ 0 h 9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58" h="991">
                    <a:moveTo>
                      <a:pt x="413" y="0"/>
                    </a:moveTo>
                    <a:lnTo>
                      <a:pt x="0" y="991"/>
                    </a:lnTo>
                    <a:lnTo>
                      <a:pt x="858" y="991"/>
                    </a:lnTo>
                    <a:lnTo>
                      <a:pt x="413" y="0"/>
                    </a:lnTo>
                    <a:close/>
                  </a:path>
                </a:pathLst>
              </a:custGeom>
              <a:noFill/>
              <a:ln w="4" cap="flat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19" name="Oval 9">
                <a:extLst>
                  <a:ext uri="{FF2B5EF4-FFF2-40B4-BE49-F238E27FC236}">
                    <a16:creationId xmlns:a16="http://schemas.microsoft.com/office/drawing/2014/main" id="{6041761F-E850-4624-A308-2124DD9B50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1727" y="1696067"/>
                <a:ext cx="326072" cy="324293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4" cap="flat">
                <a:noFill/>
                <a:prstDash val="solid"/>
                <a:miter lim="800000"/>
                <a:headEnd/>
                <a:tailEnd/>
              </a:ln>
            </p:spPr>
            <p:txBody>
              <a:bodyPr lIns="121920" tIns="60960" rIns="121920" bIns="60960"/>
              <a:lstStyle/>
              <a:p>
                <a:pPr eaLnBrk="1" hangingPunct="1">
                  <a:defRPr/>
                </a:pPr>
                <a:endParaRPr lang="en-US" altLang="zh-CN" sz="2400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37232838-77BE-445E-ACD8-2253300F9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3291" y="4260447"/>
                <a:ext cx="2037510" cy="333106"/>
              </a:xfrm>
              <a:custGeom>
                <a:avLst/>
                <a:gdLst>
                  <a:gd name="T0" fmla="*/ 0 w 972"/>
                  <a:gd name="T1" fmla="*/ 4 h 159"/>
                  <a:gd name="T2" fmla="*/ 26 w 972"/>
                  <a:gd name="T3" fmla="*/ 60 h 159"/>
                  <a:gd name="T4" fmla="*/ 150 w 972"/>
                  <a:gd name="T5" fmla="*/ 116 h 159"/>
                  <a:gd name="T6" fmla="*/ 155 w 972"/>
                  <a:gd name="T7" fmla="*/ 159 h 159"/>
                  <a:gd name="T8" fmla="*/ 821 w 972"/>
                  <a:gd name="T9" fmla="*/ 151 h 159"/>
                  <a:gd name="T10" fmla="*/ 821 w 972"/>
                  <a:gd name="T11" fmla="*/ 112 h 159"/>
                  <a:gd name="T12" fmla="*/ 946 w 972"/>
                  <a:gd name="T13" fmla="*/ 69 h 159"/>
                  <a:gd name="T14" fmla="*/ 972 w 972"/>
                  <a:gd name="T15" fmla="*/ 0 h 159"/>
                  <a:gd name="T16" fmla="*/ 0 w 972"/>
                  <a:gd name="T17" fmla="*/ 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2" h="159">
                    <a:moveTo>
                      <a:pt x="0" y="4"/>
                    </a:moveTo>
                    <a:cubicBezTo>
                      <a:pt x="0" y="4"/>
                      <a:pt x="3" y="42"/>
                      <a:pt x="26" y="60"/>
                    </a:cubicBezTo>
                    <a:cubicBezTo>
                      <a:pt x="49" y="79"/>
                      <a:pt x="150" y="116"/>
                      <a:pt x="150" y="116"/>
                    </a:cubicBezTo>
                    <a:cubicBezTo>
                      <a:pt x="155" y="159"/>
                      <a:pt x="155" y="159"/>
                      <a:pt x="155" y="159"/>
                    </a:cubicBezTo>
                    <a:cubicBezTo>
                      <a:pt x="821" y="151"/>
                      <a:pt x="821" y="151"/>
                      <a:pt x="821" y="151"/>
                    </a:cubicBezTo>
                    <a:cubicBezTo>
                      <a:pt x="821" y="112"/>
                      <a:pt x="821" y="112"/>
                      <a:pt x="821" y="112"/>
                    </a:cubicBezTo>
                    <a:cubicBezTo>
                      <a:pt x="821" y="112"/>
                      <a:pt x="923" y="88"/>
                      <a:pt x="946" y="69"/>
                    </a:cubicBezTo>
                    <a:cubicBezTo>
                      <a:pt x="969" y="50"/>
                      <a:pt x="972" y="0"/>
                      <a:pt x="972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5"/>
              </a:solidFill>
              <a:ln w="4" cap="flat">
                <a:noFill/>
                <a:prstDash val="solid"/>
                <a:miter lim="800000"/>
                <a:headEnd/>
                <a:tailEnd/>
              </a:ln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AF1DBF08-4B20-4448-B0CE-687FD2DDE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485" y="5314399"/>
                <a:ext cx="2037510" cy="333106"/>
              </a:xfrm>
              <a:custGeom>
                <a:avLst/>
                <a:gdLst>
                  <a:gd name="T0" fmla="*/ 0 w 972"/>
                  <a:gd name="T1" fmla="*/ 4 h 159"/>
                  <a:gd name="T2" fmla="*/ 26 w 972"/>
                  <a:gd name="T3" fmla="*/ 60 h 159"/>
                  <a:gd name="T4" fmla="*/ 151 w 972"/>
                  <a:gd name="T5" fmla="*/ 116 h 159"/>
                  <a:gd name="T6" fmla="*/ 155 w 972"/>
                  <a:gd name="T7" fmla="*/ 159 h 159"/>
                  <a:gd name="T8" fmla="*/ 822 w 972"/>
                  <a:gd name="T9" fmla="*/ 150 h 159"/>
                  <a:gd name="T10" fmla="*/ 822 w 972"/>
                  <a:gd name="T11" fmla="*/ 112 h 159"/>
                  <a:gd name="T12" fmla="*/ 947 w 972"/>
                  <a:gd name="T13" fmla="*/ 69 h 159"/>
                  <a:gd name="T14" fmla="*/ 972 w 972"/>
                  <a:gd name="T15" fmla="*/ 0 h 159"/>
                  <a:gd name="T16" fmla="*/ 0 w 972"/>
                  <a:gd name="T17" fmla="*/ 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2" h="159">
                    <a:moveTo>
                      <a:pt x="0" y="4"/>
                    </a:moveTo>
                    <a:cubicBezTo>
                      <a:pt x="0" y="4"/>
                      <a:pt x="3" y="41"/>
                      <a:pt x="26" y="60"/>
                    </a:cubicBezTo>
                    <a:cubicBezTo>
                      <a:pt x="49" y="79"/>
                      <a:pt x="151" y="116"/>
                      <a:pt x="151" y="116"/>
                    </a:cubicBezTo>
                    <a:cubicBezTo>
                      <a:pt x="155" y="159"/>
                      <a:pt x="155" y="159"/>
                      <a:pt x="155" y="159"/>
                    </a:cubicBezTo>
                    <a:cubicBezTo>
                      <a:pt x="822" y="150"/>
                      <a:pt x="822" y="150"/>
                      <a:pt x="822" y="150"/>
                    </a:cubicBezTo>
                    <a:cubicBezTo>
                      <a:pt x="822" y="112"/>
                      <a:pt x="822" y="112"/>
                      <a:pt x="822" y="112"/>
                    </a:cubicBezTo>
                    <a:cubicBezTo>
                      <a:pt x="822" y="112"/>
                      <a:pt x="924" y="87"/>
                      <a:pt x="947" y="69"/>
                    </a:cubicBezTo>
                    <a:cubicBezTo>
                      <a:pt x="970" y="50"/>
                      <a:pt x="972" y="0"/>
                      <a:pt x="972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5"/>
              </a:solidFill>
              <a:ln w="4" cap="flat">
                <a:noFill/>
                <a:prstDash val="solid"/>
                <a:miter lim="800000"/>
                <a:headEnd/>
                <a:tailEnd/>
              </a:ln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  <p:sp>
            <p:nvSpPr>
              <p:cNvPr id="22" name="Oval 12">
                <a:extLst>
                  <a:ext uri="{FF2B5EF4-FFF2-40B4-BE49-F238E27FC236}">
                    <a16:creationId xmlns:a16="http://schemas.microsoft.com/office/drawing/2014/main" id="{CE953E6D-1082-4A4F-8E24-DA3723836D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259" y="2795843"/>
                <a:ext cx="338410" cy="338392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4" cap="flat">
                <a:noFill/>
                <a:prstDash val="solid"/>
                <a:miter lim="800000"/>
                <a:headEnd/>
                <a:tailEnd/>
              </a:ln>
            </p:spPr>
            <p:txBody>
              <a:bodyPr lIns="121920" tIns="60960" rIns="121920" bIns="60960"/>
              <a:lstStyle/>
              <a:p>
                <a:pPr eaLnBrk="1" hangingPunct="1">
                  <a:defRPr/>
                </a:pPr>
                <a:endParaRPr lang="en-US" altLang="zh-CN" sz="2400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75E3F76B-8C8B-4F67-913C-45A615667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950" y="1859975"/>
                <a:ext cx="2411171" cy="4515425"/>
              </a:xfrm>
              <a:custGeom>
                <a:avLst/>
                <a:gdLst>
                  <a:gd name="T0" fmla="*/ 1130 w 1150"/>
                  <a:gd name="T1" fmla="*/ 1860 h 2153"/>
                  <a:gd name="T2" fmla="*/ 1081 w 1150"/>
                  <a:gd name="T3" fmla="*/ 1835 h 2153"/>
                  <a:gd name="T4" fmla="*/ 737 w 1150"/>
                  <a:gd name="T5" fmla="*/ 1763 h 2153"/>
                  <a:gd name="T6" fmla="*/ 737 w 1150"/>
                  <a:gd name="T7" fmla="*/ 1459 h 2153"/>
                  <a:gd name="T8" fmla="*/ 685 w 1150"/>
                  <a:gd name="T9" fmla="*/ 1459 h 2153"/>
                  <a:gd name="T10" fmla="*/ 685 w 1150"/>
                  <a:gd name="T11" fmla="*/ 1433 h 2153"/>
                  <a:gd name="T12" fmla="*/ 657 w 1150"/>
                  <a:gd name="T13" fmla="*/ 1433 h 2153"/>
                  <a:gd name="T14" fmla="*/ 657 w 1150"/>
                  <a:gd name="T15" fmla="*/ 1215 h 2153"/>
                  <a:gd name="T16" fmla="*/ 634 w 1150"/>
                  <a:gd name="T17" fmla="*/ 1215 h 2153"/>
                  <a:gd name="T18" fmla="*/ 634 w 1150"/>
                  <a:gd name="T19" fmla="*/ 484 h 2153"/>
                  <a:gd name="T20" fmla="*/ 672 w 1150"/>
                  <a:gd name="T21" fmla="*/ 484 h 2153"/>
                  <a:gd name="T22" fmla="*/ 728 w 1150"/>
                  <a:gd name="T23" fmla="*/ 441 h 2153"/>
                  <a:gd name="T24" fmla="*/ 672 w 1150"/>
                  <a:gd name="T25" fmla="*/ 398 h 2153"/>
                  <a:gd name="T26" fmla="*/ 634 w 1150"/>
                  <a:gd name="T27" fmla="*/ 398 h 2153"/>
                  <a:gd name="T28" fmla="*/ 634 w 1150"/>
                  <a:gd name="T29" fmla="*/ 125 h 2153"/>
                  <a:gd name="T30" fmla="*/ 654 w 1150"/>
                  <a:gd name="T31" fmla="*/ 74 h 2153"/>
                  <a:gd name="T32" fmla="*/ 579 w 1150"/>
                  <a:gd name="T33" fmla="*/ 0 h 2153"/>
                  <a:gd name="T34" fmla="*/ 505 w 1150"/>
                  <a:gd name="T35" fmla="*/ 74 h 2153"/>
                  <a:gd name="T36" fmla="*/ 527 w 1150"/>
                  <a:gd name="T37" fmla="*/ 128 h 2153"/>
                  <a:gd name="T38" fmla="*/ 525 w 1150"/>
                  <a:gd name="T39" fmla="*/ 128 h 2153"/>
                  <a:gd name="T40" fmla="*/ 525 w 1150"/>
                  <a:gd name="T41" fmla="*/ 398 h 2153"/>
                  <a:gd name="T42" fmla="*/ 492 w 1150"/>
                  <a:gd name="T43" fmla="*/ 398 h 2153"/>
                  <a:gd name="T44" fmla="*/ 436 w 1150"/>
                  <a:gd name="T45" fmla="*/ 441 h 2153"/>
                  <a:gd name="T46" fmla="*/ 492 w 1150"/>
                  <a:gd name="T47" fmla="*/ 484 h 2153"/>
                  <a:gd name="T48" fmla="*/ 525 w 1150"/>
                  <a:gd name="T49" fmla="*/ 484 h 2153"/>
                  <a:gd name="T50" fmla="*/ 525 w 1150"/>
                  <a:gd name="T51" fmla="*/ 1218 h 2153"/>
                  <a:gd name="T52" fmla="*/ 502 w 1150"/>
                  <a:gd name="T53" fmla="*/ 1218 h 2153"/>
                  <a:gd name="T54" fmla="*/ 502 w 1150"/>
                  <a:gd name="T55" fmla="*/ 1439 h 2153"/>
                  <a:gd name="T56" fmla="*/ 470 w 1150"/>
                  <a:gd name="T57" fmla="*/ 1439 h 2153"/>
                  <a:gd name="T58" fmla="*/ 470 w 1150"/>
                  <a:gd name="T59" fmla="*/ 1465 h 2153"/>
                  <a:gd name="T60" fmla="*/ 424 w 1150"/>
                  <a:gd name="T61" fmla="*/ 1465 h 2153"/>
                  <a:gd name="T62" fmla="*/ 424 w 1150"/>
                  <a:gd name="T63" fmla="*/ 1749 h 2153"/>
                  <a:gd name="T64" fmla="*/ 83 w 1150"/>
                  <a:gd name="T65" fmla="*/ 1823 h 2153"/>
                  <a:gd name="T66" fmla="*/ 37 w 1150"/>
                  <a:gd name="T67" fmla="*/ 1843 h 2153"/>
                  <a:gd name="T68" fmla="*/ 0 w 1150"/>
                  <a:gd name="T69" fmla="*/ 1886 h 2153"/>
                  <a:gd name="T70" fmla="*/ 0 w 1150"/>
                  <a:gd name="T71" fmla="*/ 2153 h 2153"/>
                  <a:gd name="T72" fmla="*/ 1150 w 1150"/>
                  <a:gd name="T73" fmla="*/ 2153 h 2153"/>
                  <a:gd name="T74" fmla="*/ 1150 w 1150"/>
                  <a:gd name="T75" fmla="*/ 1881 h 2153"/>
                  <a:gd name="T76" fmla="*/ 1130 w 1150"/>
                  <a:gd name="T77" fmla="*/ 1860 h 2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50" h="2153">
                    <a:moveTo>
                      <a:pt x="1130" y="1860"/>
                    </a:moveTo>
                    <a:cubicBezTo>
                      <a:pt x="1112" y="1840"/>
                      <a:pt x="1081" y="1835"/>
                      <a:pt x="1081" y="1835"/>
                    </a:cubicBezTo>
                    <a:cubicBezTo>
                      <a:pt x="737" y="1763"/>
                      <a:pt x="737" y="1763"/>
                      <a:pt x="737" y="1763"/>
                    </a:cubicBezTo>
                    <a:cubicBezTo>
                      <a:pt x="737" y="1459"/>
                      <a:pt x="737" y="1459"/>
                      <a:pt x="737" y="1459"/>
                    </a:cubicBezTo>
                    <a:cubicBezTo>
                      <a:pt x="685" y="1459"/>
                      <a:pt x="685" y="1459"/>
                      <a:pt x="685" y="1459"/>
                    </a:cubicBezTo>
                    <a:cubicBezTo>
                      <a:pt x="685" y="1433"/>
                      <a:pt x="685" y="1433"/>
                      <a:pt x="685" y="1433"/>
                    </a:cubicBezTo>
                    <a:cubicBezTo>
                      <a:pt x="657" y="1433"/>
                      <a:pt x="657" y="1433"/>
                      <a:pt x="657" y="1433"/>
                    </a:cubicBezTo>
                    <a:cubicBezTo>
                      <a:pt x="657" y="1215"/>
                      <a:pt x="657" y="1215"/>
                      <a:pt x="657" y="1215"/>
                    </a:cubicBezTo>
                    <a:cubicBezTo>
                      <a:pt x="634" y="1215"/>
                      <a:pt x="634" y="1215"/>
                      <a:pt x="634" y="1215"/>
                    </a:cubicBezTo>
                    <a:cubicBezTo>
                      <a:pt x="634" y="484"/>
                      <a:pt x="634" y="484"/>
                      <a:pt x="634" y="484"/>
                    </a:cubicBezTo>
                    <a:cubicBezTo>
                      <a:pt x="672" y="484"/>
                      <a:pt x="672" y="484"/>
                      <a:pt x="672" y="484"/>
                    </a:cubicBezTo>
                    <a:cubicBezTo>
                      <a:pt x="703" y="484"/>
                      <a:pt x="728" y="465"/>
                      <a:pt x="728" y="441"/>
                    </a:cubicBezTo>
                    <a:cubicBezTo>
                      <a:pt x="728" y="417"/>
                      <a:pt x="703" y="398"/>
                      <a:pt x="672" y="398"/>
                    </a:cubicBezTo>
                    <a:cubicBezTo>
                      <a:pt x="634" y="398"/>
                      <a:pt x="634" y="398"/>
                      <a:pt x="634" y="398"/>
                    </a:cubicBezTo>
                    <a:cubicBezTo>
                      <a:pt x="634" y="125"/>
                      <a:pt x="634" y="125"/>
                      <a:pt x="634" y="125"/>
                    </a:cubicBezTo>
                    <a:cubicBezTo>
                      <a:pt x="646" y="112"/>
                      <a:pt x="654" y="94"/>
                      <a:pt x="654" y="74"/>
                    </a:cubicBezTo>
                    <a:cubicBezTo>
                      <a:pt x="654" y="33"/>
                      <a:pt x="620" y="0"/>
                      <a:pt x="579" y="0"/>
                    </a:cubicBezTo>
                    <a:cubicBezTo>
                      <a:pt x="538" y="0"/>
                      <a:pt x="505" y="33"/>
                      <a:pt x="505" y="74"/>
                    </a:cubicBezTo>
                    <a:cubicBezTo>
                      <a:pt x="505" y="95"/>
                      <a:pt x="513" y="114"/>
                      <a:pt x="527" y="128"/>
                    </a:cubicBezTo>
                    <a:cubicBezTo>
                      <a:pt x="525" y="128"/>
                      <a:pt x="525" y="128"/>
                      <a:pt x="525" y="128"/>
                    </a:cubicBezTo>
                    <a:cubicBezTo>
                      <a:pt x="525" y="398"/>
                      <a:pt x="525" y="398"/>
                      <a:pt x="525" y="398"/>
                    </a:cubicBezTo>
                    <a:cubicBezTo>
                      <a:pt x="492" y="398"/>
                      <a:pt x="492" y="398"/>
                      <a:pt x="492" y="398"/>
                    </a:cubicBezTo>
                    <a:cubicBezTo>
                      <a:pt x="461" y="398"/>
                      <a:pt x="436" y="417"/>
                      <a:pt x="436" y="441"/>
                    </a:cubicBezTo>
                    <a:cubicBezTo>
                      <a:pt x="436" y="465"/>
                      <a:pt x="461" y="484"/>
                      <a:pt x="492" y="484"/>
                    </a:cubicBezTo>
                    <a:cubicBezTo>
                      <a:pt x="525" y="484"/>
                      <a:pt x="525" y="484"/>
                      <a:pt x="525" y="484"/>
                    </a:cubicBezTo>
                    <a:cubicBezTo>
                      <a:pt x="525" y="1218"/>
                      <a:pt x="525" y="1218"/>
                      <a:pt x="525" y="1218"/>
                    </a:cubicBezTo>
                    <a:cubicBezTo>
                      <a:pt x="502" y="1218"/>
                      <a:pt x="502" y="1218"/>
                      <a:pt x="502" y="1218"/>
                    </a:cubicBezTo>
                    <a:cubicBezTo>
                      <a:pt x="502" y="1439"/>
                      <a:pt x="502" y="1439"/>
                      <a:pt x="502" y="1439"/>
                    </a:cubicBezTo>
                    <a:cubicBezTo>
                      <a:pt x="470" y="1439"/>
                      <a:pt x="470" y="1439"/>
                      <a:pt x="470" y="1439"/>
                    </a:cubicBezTo>
                    <a:cubicBezTo>
                      <a:pt x="470" y="1465"/>
                      <a:pt x="470" y="1465"/>
                      <a:pt x="470" y="1465"/>
                    </a:cubicBezTo>
                    <a:cubicBezTo>
                      <a:pt x="424" y="1465"/>
                      <a:pt x="424" y="1465"/>
                      <a:pt x="424" y="1465"/>
                    </a:cubicBezTo>
                    <a:cubicBezTo>
                      <a:pt x="424" y="1749"/>
                      <a:pt x="424" y="1749"/>
                      <a:pt x="424" y="1749"/>
                    </a:cubicBezTo>
                    <a:cubicBezTo>
                      <a:pt x="83" y="1823"/>
                      <a:pt x="83" y="1823"/>
                      <a:pt x="83" y="1823"/>
                    </a:cubicBezTo>
                    <a:cubicBezTo>
                      <a:pt x="83" y="1823"/>
                      <a:pt x="54" y="1832"/>
                      <a:pt x="37" y="1843"/>
                    </a:cubicBezTo>
                    <a:cubicBezTo>
                      <a:pt x="20" y="1855"/>
                      <a:pt x="0" y="1886"/>
                      <a:pt x="0" y="1886"/>
                    </a:cubicBezTo>
                    <a:cubicBezTo>
                      <a:pt x="0" y="2153"/>
                      <a:pt x="0" y="2153"/>
                      <a:pt x="0" y="2153"/>
                    </a:cubicBezTo>
                    <a:cubicBezTo>
                      <a:pt x="1150" y="2153"/>
                      <a:pt x="1150" y="2153"/>
                      <a:pt x="1150" y="2153"/>
                    </a:cubicBezTo>
                    <a:cubicBezTo>
                      <a:pt x="1150" y="1881"/>
                      <a:pt x="1150" y="1881"/>
                      <a:pt x="1150" y="1881"/>
                    </a:cubicBezTo>
                    <a:cubicBezTo>
                      <a:pt x="1150" y="1881"/>
                      <a:pt x="1147" y="1881"/>
                      <a:pt x="1130" y="186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4" cap="flat">
                <a:noFill/>
                <a:prstDash val="solid"/>
                <a:miter lim="800000"/>
                <a:headEnd/>
                <a:tailEnd/>
              </a:ln>
            </p:spPr>
            <p:txBody>
              <a:bodyPr lIns="121920" tIns="60960" rIns="121920" bIns="60960"/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>
                  <a:latin typeface="+mn-lt"/>
                </a:endParaRPr>
              </a:p>
            </p:txBody>
          </p:sp>
        </p:grp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23AE09CC-9AA6-4A8E-9E9E-5C664167E17A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5160890" y="2868420"/>
              <a:ext cx="1171710" cy="1155773"/>
            </a:xfrm>
            <a:custGeom>
              <a:avLst/>
              <a:gdLst>
                <a:gd name="T0" fmla="*/ 194 w 998"/>
                <a:gd name="T1" fmla="*/ 196 h 1124"/>
                <a:gd name="T2" fmla="*/ 16 w 998"/>
                <a:gd name="T3" fmla="*/ 329 h 1124"/>
                <a:gd name="T4" fmla="*/ 30 w 998"/>
                <a:gd name="T5" fmla="*/ 558 h 1124"/>
                <a:gd name="T6" fmla="*/ 517 w 998"/>
                <a:gd name="T7" fmla="*/ 646 h 1124"/>
                <a:gd name="T8" fmla="*/ 625 w 998"/>
                <a:gd name="T9" fmla="*/ 919 h 1124"/>
                <a:gd name="T10" fmla="*/ 153 w 998"/>
                <a:gd name="T11" fmla="*/ 915 h 1124"/>
                <a:gd name="T12" fmla="*/ 156 w 998"/>
                <a:gd name="T13" fmla="*/ 1124 h 1124"/>
                <a:gd name="T14" fmla="*/ 663 w 998"/>
                <a:gd name="T15" fmla="*/ 965 h 1124"/>
                <a:gd name="T16" fmla="*/ 863 w 998"/>
                <a:gd name="T17" fmla="*/ 842 h 1124"/>
                <a:gd name="T18" fmla="*/ 709 w 998"/>
                <a:gd name="T19" fmla="*/ 619 h 1124"/>
                <a:gd name="T20" fmla="*/ 883 w 998"/>
                <a:gd name="T21" fmla="*/ 205 h 1124"/>
                <a:gd name="T22" fmla="*/ 950 w 998"/>
                <a:gd name="T23" fmla="*/ 69 h 1124"/>
                <a:gd name="T24" fmla="*/ 635 w 998"/>
                <a:gd name="T25" fmla="*/ 970 h 1124"/>
                <a:gd name="T26" fmla="*/ 848 w 998"/>
                <a:gd name="T27" fmla="*/ 910 h 1124"/>
                <a:gd name="T28" fmla="*/ 637 w 998"/>
                <a:gd name="T29" fmla="*/ 930 h 1124"/>
                <a:gd name="T30" fmla="*/ 503 w 998"/>
                <a:gd name="T31" fmla="*/ 666 h 1124"/>
                <a:gd name="T32" fmla="*/ 860 w 998"/>
                <a:gd name="T33" fmla="*/ 137 h 1124"/>
                <a:gd name="T34" fmla="*/ 198 w 998"/>
                <a:gd name="T35" fmla="*/ 554 h 1124"/>
                <a:gd name="T36" fmla="*/ 326 w 998"/>
                <a:gd name="T37" fmla="*/ 232 h 1124"/>
                <a:gd name="T38" fmla="*/ 518 w 998"/>
                <a:gd name="T39" fmla="*/ 179 h 1124"/>
                <a:gd name="T40" fmla="*/ 728 w 998"/>
                <a:gd name="T41" fmla="*/ 200 h 1124"/>
                <a:gd name="T42" fmla="*/ 160 w 998"/>
                <a:gd name="T43" fmla="*/ 450 h 1124"/>
                <a:gd name="T44" fmla="*/ 310 w 998"/>
                <a:gd name="T45" fmla="*/ 335 h 1124"/>
                <a:gd name="T46" fmla="*/ 370 w 998"/>
                <a:gd name="T47" fmla="*/ 335 h 1124"/>
                <a:gd name="T48" fmla="*/ 476 w 998"/>
                <a:gd name="T49" fmla="*/ 470 h 1124"/>
                <a:gd name="T50" fmla="*/ 636 w 998"/>
                <a:gd name="T51" fmla="*/ 481 h 1124"/>
                <a:gd name="T52" fmla="*/ 542 w 998"/>
                <a:gd name="T53" fmla="*/ 336 h 1124"/>
                <a:gd name="T54" fmla="*/ 475 w 998"/>
                <a:gd name="T55" fmla="*/ 588 h 1124"/>
                <a:gd name="T56" fmla="*/ 547 w 998"/>
                <a:gd name="T57" fmla="*/ 596 h 1124"/>
                <a:gd name="T58" fmla="*/ 661 w 998"/>
                <a:gd name="T59" fmla="*/ 489 h 1124"/>
                <a:gd name="T60" fmla="*/ 688 w 998"/>
                <a:gd name="T61" fmla="*/ 491 h 1124"/>
                <a:gd name="T62" fmla="*/ 751 w 998"/>
                <a:gd name="T63" fmla="*/ 328 h 1124"/>
                <a:gd name="T64" fmla="*/ 732 w 998"/>
                <a:gd name="T65" fmla="*/ 328 h 1124"/>
                <a:gd name="T66" fmla="*/ 631 w 998"/>
                <a:gd name="T67" fmla="*/ 326 h 1124"/>
                <a:gd name="T68" fmla="*/ 569 w 998"/>
                <a:gd name="T69" fmla="*/ 219 h 1124"/>
                <a:gd name="T70" fmla="*/ 478 w 998"/>
                <a:gd name="T71" fmla="*/ 226 h 1124"/>
                <a:gd name="T72" fmla="*/ 314 w 998"/>
                <a:gd name="T73" fmla="*/ 325 h 1124"/>
                <a:gd name="T74" fmla="*/ 262 w 998"/>
                <a:gd name="T75" fmla="*/ 243 h 1124"/>
                <a:gd name="T76" fmla="*/ 145 w 998"/>
                <a:gd name="T77" fmla="*/ 212 h 1124"/>
                <a:gd name="T78" fmla="*/ 85 w 998"/>
                <a:gd name="T79" fmla="*/ 333 h 1124"/>
                <a:gd name="T80" fmla="*/ 103 w 998"/>
                <a:gd name="T81" fmla="*/ 452 h 1124"/>
                <a:gd name="T82" fmla="*/ 160 w 998"/>
                <a:gd name="T83" fmla="*/ 456 h 1124"/>
                <a:gd name="T84" fmla="*/ 297 w 998"/>
                <a:gd name="T85" fmla="*/ 566 h 1124"/>
                <a:gd name="T86" fmla="*/ 398 w 998"/>
                <a:gd name="T87" fmla="*/ 472 h 1124"/>
                <a:gd name="T88" fmla="*/ 499 w 998"/>
                <a:gd name="T89" fmla="*/ 599 h 1124"/>
                <a:gd name="T90" fmla="*/ 649 w 998"/>
                <a:gd name="T91" fmla="*/ 615 h 1124"/>
                <a:gd name="T92" fmla="*/ 727 w 998"/>
                <a:gd name="T93" fmla="*/ 487 h 1124"/>
                <a:gd name="T94" fmla="*/ 635 w 998"/>
                <a:gd name="T95" fmla="*/ 208 h 1124"/>
                <a:gd name="T96" fmla="*/ 479 w 998"/>
                <a:gd name="T97" fmla="*/ 220 h 1124"/>
                <a:gd name="T98" fmla="*/ 210 w 998"/>
                <a:gd name="T99" fmla="*/ 208 h 1124"/>
                <a:gd name="T100" fmla="*/ 65 w 998"/>
                <a:gd name="T101" fmla="*/ 222 h 1124"/>
                <a:gd name="T102" fmla="*/ 50 w 998"/>
                <a:gd name="T103" fmla="*/ 333 h 1124"/>
                <a:gd name="T104" fmla="*/ 49 w 998"/>
                <a:gd name="T105" fmla="*/ 560 h 1124"/>
                <a:gd name="T106" fmla="*/ 148 w 998"/>
                <a:gd name="T107" fmla="*/ 555 h 1124"/>
                <a:gd name="T108" fmla="*/ 200 w 998"/>
                <a:gd name="T109" fmla="*/ 561 h 1124"/>
                <a:gd name="T110" fmla="*/ 321 w 998"/>
                <a:gd name="T111" fmla="*/ 576 h 1124"/>
                <a:gd name="T112" fmla="*/ 375 w 998"/>
                <a:gd name="T113" fmla="*/ 582 h 1124"/>
                <a:gd name="T114" fmla="*/ 670 w 998"/>
                <a:gd name="T115" fmla="*/ 618 h 1124"/>
                <a:gd name="T116" fmla="*/ 793 w 998"/>
                <a:gd name="T117" fmla="*/ 335 h 1124"/>
                <a:gd name="T118" fmla="*/ 850 w 998"/>
                <a:gd name="T119" fmla="*/ 198 h 1124"/>
                <a:gd name="T120" fmla="*/ 875 w 998"/>
                <a:gd name="T121" fmla="*/ 78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98" h="1124">
                  <a:moveTo>
                    <a:pt x="988" y="15"/>
                  </a:moveTo>
                  <a:cubicBezTo>
                    <a:pt x="979" y="0"/>
                    <a:pt x="962" y="9"/>
                    <a:pt x="956" y="12"/>
                  </a:cubicBezTo>
                  <a:cubicBezTo>
                    <a:pt x="950" y="16"/>
                    <a:pt x="893" y="52"/>
                    <a:pt x="893" y="52"/>
                  </a:cubicBezTo>
                  <a:cubicBezTo>
                    <a:pt x="893" y="52"/>
                    <a:pt x="889" y="51"/>
                    <a:pt x="888" y="53"/>
                  </a:cubicBezTo>
                  <a:cubicBezTo>
                    <a:pt x="887" y="55"/>
                    <a:pt x="889" y="56"/>
                    <a:pt x="889" y="56"/>
                  </a:cubicBezTo>
                  <a:cubicBezTo>
                    <a:pt x="891" y="57"/>
                    <a:pt x="891" y="57"/>
                    <a:pt x="891" y="57"/>
                  </a:cubicBezTo>
                  <a:cubicBezTo>
                    <a:pt x="886" y="60"/>
                    <a:pt x="881" y="64"/>
                    <a:pt x="877" y="67"/>
                  </a:cubicBezTo>
                  <a:cubicBezTo>
                    <a:pt x="874" y="68"/>
                    <a:pt x="872" y="69"/>
                    <a:pt x="871" y="71"/>
                  </a:cubicBezTo>
                  <a:cubicBezTo>
                    <a:pt x="870" y="71"/>
                    <a:pt x="870" y="72"/>
                    <a:pt x="869" y="72"/>
                  </a:cubicBezTo>
                  <a:cubicBezTo>
                    <a:pt x="869" y="72"/>
                    <a:pt x="869" y="72"/>
                    <a:pt x="868" y="73"/>
                  </a:cubicBezTo>
                  <a:cubicBezTo>
                    <a:pt x="868" y="73"/>
                    <a:pt x="868" y="73"/>
                    <a:pt x="868" y="74"/>
                  </a:cubicBezTo>
                  <a:cubicBezTo>
                    <a:pt x="867" y="74"/>
                    <a:pt x="867" y="74"/>
                    <a:pt x="867" y="74"/>
                  </a:cubicBezTo>
                  <a:cubicBezTo>
                    <a:pt x="867" y="74"/>
                    <a:pt x="867" y="74"/>
                    <a:pt x="867" y="75"/>
                  </a:cubicBezTo>
                  <a:cubicBezTo>
                    <a:pt x="866" y="78"/>
                    <a:pt x="860" y="88"/>
                    <a:pt x="852" y="104"/>
                  </a:cubicBezTo>
                  <a:cubicBezTo>
                    <a:pt x="848" y="114"/>
                    <a:pt x="842" y="125"/>
                    <a:pt x="835" y="139"/>
                  </a:cubicBezTo>
                  <a:cubicBezTo>
                    <a:pt x="813" y="141"/>
                    <a:pt x="813" y="141"/>
                    <a:pt x="813" y="141"/>
                  </a:cubicBezTo>
                  <a:cubicBezTo>
                    <a:pt x="813" y="139"/>
                    <a:pt x="813" y="139"/>
                    <a:pt x="813" y="139"/>
                  </a:cubicBezTo>
                  <a:cubicBezTo>
                    <a:pt x="194" y="196"/>
                    <a:pt x="194" y="196"/>
                    <a:pt x="194" y="196"/>
                  </a:cubicBezTo>
                  <a:cubicBezTo>
                    <a:pt x="194" y="197"/>
                    <a:pt x="194" y="197"/>
                    <a:pt x="194" y="197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08"/>
                    <a:pt x="48" y="208"/>
                    <a:pt x="46" y="208"/>
                  </a:cubicBezTo>
                  <a:cubicBezTo>
                    <a:pt x="43" y="208"/>
                    <a:pt x="43" y="206"/>
                    <a:pt x="41" y="205"/>
                  </a:cubicBezTo>
                  <a:cubicBezTo>
                    <a:pt x="39" y="205"/>
                    <a:pt x="29" y="206"/>
                    <a:pt x="27" y="207"/>
                  </a:cubicBezTo>
                  <a:cubicBezTo>
                    <a:pt x="25" y="207"/>
                    <a:pt x="18" y="207"/>
                    <a:pt x="15" y="207"/>
                  </a:cubicBezTo>
                  <a:cubicBezTo>
                    <a:pt x="11" y="208"/>
                    <a:pt x="8" y="211"/>
                    <a:pt x="8" y="215"/>
                  </a:cubicBezTo>
                  <a:cubicBezTo>
                    <a:pt x="7" y="219"/>
                    <a:pt x="12" y="251"/>
                    <a:pt x="12" y="252"/>
                  </a:cubicBezTo>
                  <a:cubicBezTo>
                    <a:pt x="13" y="252"/>
                    <a:pt x="16" y="252"/>
                    <a:pt x="20" y="252"/>
                  </a:cubicBezTo>
                  <a:cubicBezTo>
                    <a:pt x="20" y="253"/>
                    <a:pt x="20" y="254"/>
                    <a:pt x="20" y="255"/>
                  </a:cubicBezTo>
                  <a:cubicBezTo>
                    <a:pt x="17" y="255"/>
                    <a:pt x="17" y="255"/>
                    <a:pt x="17" y="255"/>
                  </a:cubicBezTo>
                  <a:cubicBezTo>
                    <a:pt x="15" y="255"/>
                    <a:pt x="14" y="257"/>
                    <a:pt x="14" y="259"/>
                  </a:cubicBezTo>
                  <a:cubicBezTo>
                    <a:pt x="14" y="261"/>
                    <a:pt x="16" y="262"/>
                    <a:pt x="17" y="262"/>
                  </a:cubicBezTo>
                  <a:cubicBezTo>
                    <a:pt x="20" y="262"/>
                    <a:pt x="20" y="262"/>
                    <a:pt x="20" y="262"/>
                  </a:cubicBezTo>
                  <a:cubicBezTo>
                    <a:pt x="21" y="278"/>
                    <a:pt x="21" y="300"/>
                    <a:pt x="22" y="326"/>
                  </a:cubicBezTo>
                  <a:cubicBezTo>
                    <a:pt x="19" y="326"/>
                    <a:pt x="19" y="326"/>
                    <a:pt x="19" y="326"/>
                  </a:cubicBezTo>
                  <a:cubicBezTo>
                    <a:pt x="17" y="326"/>
                    <a:pt x="16" y="328"/>
                    <a:pt x="16" y="329"/>
                  </a:cubicBezTo>
                  <a:cubicBezTo>
                    <a:pt x="16" y="331"/>
                    <a:pt x="17" y="333"/>
                    <a:pt x="19" y="333"/>
                  </a:cubicBezTo>
                  <a:cubicBezTo>
                    <a:pt x="22" y="333"/>
                    <a:pt x="22" y="333"/>
                    <a:pt x="22" y="333"/>
                  </a:cubicBezTo>
                  <a:cubicBezTo>
                    <a:pt x="23" y="353"/>
                    <a:pt x="23" y="374"/>
                    <a:pt x="24" y="396"/>
                  </a:cubicBezTo>
                  <a:cubicBezTo>
                    <a:pt x="24" y="411"/>
                    <a:pt x="25" y="426"/>
                    <a:pt x="25" y="441"/>
                  </a:cubicBezTo>
                  <a:cubicBezTo>
                    <a:pt x="22" y="441"/>
                    <a:pt x="22" y="441"/>
                    <a:pt x="22" y="441"/>
                  </a:cubicBezTo>
                  <a:cubicBezTo>
                    <a:pt x="20" y="440"/>
                    <a:pt x="18" y="442"/>
                    <a:pt x="18" y="444"/>
                  </a:cubicBezTo>
                  <a:cubicBezTo>
                    <a:pt x="18" y="445"/>
                    <a:pt x="19" y="447"/>
                    <a:pt x="21" y="447"/>
                  </a:cubicBezTo>
                  <a:cubicBezTo>
                    <a:pt x="25" y="447"/>
                    <a:pt x="25" y="447"/>
                    <a:pt x="25" y="447"/>
                  </a:cubicBezTo>
                  <a:cubicBezTo>
                    <a:pt x="26" y="469"/>
                    <a:pt x="27" y="489"/>
                    <a:pt x="27" y="507"/>
                  </a:cubicBezTo>
                  <a:cubicBezTo>
                    <a:pt x="28" y="517"/>
                    <a:pt x="28" y="526"/>
                    <a:pt x="28" y="534"/>
                  </a:cubicBezTo>
                  <a:cubicBezTo>
                    <a:pt x="26" y="534"/>
                    <a:pt x="26" y="534"/>
                    <a:pt x="26" y="534"/>
                  </a:cubicBezTo>
                  <a:cubicBezTo>
                    <a:pt x="24" y="534"/>
                    <a:pt x="23" y="535"/>
                    <a:pt x="22" y="537"/>
                  </a:cubicBezTo>
                  <a:cubicBezTo>
                    <a:pt x="22" y="538"/>
                    <a:pt x="23" y="540"/>
                    <a:pt x="25" y="540"/>
                  </a:cubicBezTo>
                  <a:cubicBezTo>
                    <a:pt x="29" y="541"/>
                    <a:pt x="29" y="541"/>
                    <a:pt x="29" y="541"/>
                  </a:cubicBezTo>
                  <a:cubicBezTo>
                    <a:pt x="29" y="542"/>
                    <a:pt x="29" y="543"/>
                    <a:pt x="29" y="544"/>
                  </a:cubicBezTo>
                  <a:cubicBezTo>
                    <a:pt x="29" y="548"/>
                    <a:pt x="29" y="552"/>
                    <a:pt x="30" y="554"/>
                  </a:cubicBezTo>
                  <a:cubicBezTo>
                    <a:pt x="30" y="555"/>
                    <a:pt x="30" y="556"/>
                    <a:pt x="30" y="557"/>
                  </a:cubicBezTo>
                  <a:cubicBezTo>
                    <a:pt x="30" y="558"/>
                    <a:pt x="30" y="558"/>
                    <a:pt x="30" y="558"/>
                  </a:cubicBezTo>
                  <a:cubicBezTo>
                    <a:pt x="30" y="558"/>
                    <a:pt x="30" y="559"/>
                    <a:pt x="30" y="559"/>
                  </a:cubicBezTo>
                  <a:cubicBezTo>
                    <a:pt x="30" y="559"/>
                    <a:pt x="30" y="559"/>
                    <a:pt x="31" y="559"/>
                  </a:cubicBezTo>
                  <a:cubicBezTo>
                    <a:pt x="31" y="560"/>
                    <a:pt x="31" y="560"/>
                    <a:pt x="31" y="560"/>
                  </a:cubicBezTo>
                  <a:cubicBezTo>
                    <a:pt x="31" y="560"/>
                    <a:pt x="32" y="560"/>
                    <a:pt x="32" y="560"/>
                  </a:cubicBezTo>
                  <a:cubicBezTo>
                    <a:pt x="32" y="560"/>
                    <a:pt x="33" y="560"/>
                    <a:pt x="34" y="560"/>
                  </a:cubicBezTo>
                  <a:cubicBezTo>
                    <a:pt x="39" y="561"/>
                    <a:pt x="49" y="563"/>
                    <a:pt x="63" y="565"/>
                  </a:cubicBezTo>
                  <a:cubicBezTo>
                    <a:pt x="147" y="577"/>
                    <a:pt x="371" y="605"/>
                    <a:pt x="441" y="614"/>
                  </a:cubicBezTo>
                  <a:cubicBezTo>
                    <a:pt x="442" y="614"/>
                    <a:pt x="442" y="614"/>
                    <a:pt x="442" y="614"/>
                  </a:cubicBezTo>
                  <a:cubicBezTo>
                    <a:pt x="442" y="614"/>
                    <a:pt x="442" y="614"/>
                    <a:pt x="442" y="614"/>
                  </a:cubicBezTo>
                  <a:cubicBezTo>
                    <a:pt x="447" y="615"/>
                    <a:pt x="451" y="616"/>
                    <a:pt x="454" y="616"/>
                  </a:cubicBezTo>
                  <a:cubicBezTo>
                    <a:pt x="456" y="618"/>
                    <a:pt x="457" y="619"/>
                    <a:pt x="457" y="619"/>
                  </a:cubicBezTo>
                  <a:cubicBezTo>
                    <a:pt x="337" y="611"/>
                    <a:pt x="337" y="611"/>
                    <a:pt x="337" y="611"/>
                  </a:cubicBezTo>
                  <a:cubicBezTo>
                    <a:pt x="335" y="611"/>
                    <a:pt x="333" y="612"/>
                    <a:pt x="332" y="615"/>
                  </a:cubicBezTo>
                  <a:cubicBezTo>
                    <a:pt x="332" y="617"/>
                    <a:pt x="334" y="619"/>
                    <a:pt x="336" y="619"/>
                  </a:cubicBezTo>
                  <a:cubicBezTo>
                    <a:pt x="502" y="630"/>
                    <a:pt x="502" y="630"/>
                    <a:pt x="502" y="630"/>
                  </a:cubicBezTo>
                  <a:cubicBezTo>
                    <a:pt x="504" y="634"/>
                    <a:pt x="501" y="641"/>
                    <a:pt x="503" y="643"/>
                  </a:cubicBezTo>
                  <a:cubicBezTo>
                    <a:pt x="503" y="644"/>
                    <a:pt x="510" y="645"/>
                    <a:pt x="520" y="646"/>
                  </a:cubicBezTo>
                  <a:cubicBezTo>
                    <a:pt x="519" y="646"/>
                    <a:pt x="518" y="646"/>
                    <a:pt x="517" y="646"/>
                  </a:cubicBezTo>
                  <a:cubicBezTo>
                    <a:pt x="516" y="646"/>
                    <a:pt x="516" y="646"/>
                    <a:pt x="515" y="646"/>
                  </a:cubicBezTo>
                  <a:cubicBezTo>
                    <a:pt x="510" y="646"/>
                    <a:pt x="507" y="646"/>
                    <a:pt x="503" y="648"/>
                  </a:cubicBezTo>
                  <a:cubicBezTo>
                    <a:pt x="500" y="649"/>
                    <a:pt x="498" y="650"/>
                    <a:pt x="496" y="651"/>
                  </a:cubicBezTo>
                  <a:cubicBezTo>
                    <a:pt x="493" y="654"/>
                    <a:pt x="491" y="657"/>
                    <a:pt x="489" y="660"/>
                  </a:cubicBezTo>
                  <a:cubicBezTo>
                    <a:pt x="488" y="663"/>
                    <a:pt x="487" y="667"/>
                    <a:pt x="487" y="670"/>
                  </a:cubicBezTo>
                  <a:cubicBezTo>
                    <a:pt x="487" y="674"/>
                    <a:pt x="488" y="679"/>
                    <a:pt x="490" y="683"/>
                  </a:cubicBezTo>
                  <a:cubicBezTo>
                    <a:pt x="492" y="687"/>
                    <a:pt x="494" y="690"/>
                    <a:pt x="497" y="693"/>
                  </a:cubicBezTo>
                  <a:cubicBezTo>
                    <a:pt x="498" y="694"/>
                    <a:pt x="499" y="694"/>
                    <a:pt x="501" y="696"/>
                  </a:cubicBezTo>
                  <a:cubicBezTo>
                    <a:pt x="506" y="700"/>
                    <a:pt x="517" y="709"/>
                    <a:pt x="530" y="719"/>
                  </a:cubicBezTo>
                  <a:cubicBezTo>
                    <a:pt x="549" y="735"/>
                    <a:pt x="574" y="755"/>
                    <a:pt x="594" y="772"/>
                  </a:cubicBezTo>
                  <a:cubicBezTo>
                    <a:pt x="604" y="781"/>
                    <a:pt x="613" y="788"/>
                    <a:pt x="619" y="794"/>
                  </a:cubicBezTo>
                  <a:cubicBezTo>
                    <a:pt x="622" y="797"/>
                    <a:pt x="624" y="800"/>
                    <a:pt x="625" y="802"/>
                  </a:cubicBezTo>
                  <a:cubicBezTo>
                    <a:pt x="626" y="802"/>
                    <a:pt x="626" y="802"/>
                    <a:pt x="626" y="803"/>
                  </a:cubicBezTo>
                  <a:cubicBezTo>
                    <a:pt x="626" y="806"/>
                    <a:pt x="626" y="813"/>
                    <a:pt x="626" y="822"/>
                  </a:cubicBezTo>
                  <a:cubicBezTo>
                    <a:pt x="626" y="838"/>
                    <a:pt x="626" y="859"/>
                    <a:pt x="626" y="878"/>
                  </a:cubicBezTo>
                  <a:cubicBezTo>
                    <a:pt x="626" y="887"/>
                    <a:pt x="625" y="895"/>
                    <a:pt x="625" y="902"/>
                  </a:cubicBezTo>
                  <a:cubicBezTo>
                    <a:pt x="625" y="908"/>
                    <a:pt x="625" y="913"/>
                    <a:pt x="625" y="914"/>
                  </a:cubicBezTo>
                  <a:cubicBezTo>
                    <a:pt x="625" y="916"/>
                    <a:pt x="625" y="918"/>
                    <a:pt x="625" y="919"/>
                  </a:cubicBezTo>
                  <a:cubicBezTo>
                    <a:pt x="625" y="920"/>
                    <a:pt x="625" y="922"/>
                    <a:pt x="625" y="922"/>
                  </a:cubicBezTo>
                  <a:cubicBezTo>
                    <a:pt x="624" y="923"/>
                    <a:pt x="624" y="924"/>
                    <a:pt x="624" y="924"/>
                  </a:cubicBezTo>
                  <a:cubicBezTo>
                    <a:pt x="624" y="924"/>
                    <a:pt x="624" y="924"/>
                    <a:pt x="624" y="924"/>
                  </a:cubicBezTo>
                  <a:cubicBezTo>
                    <a:pt x="624" y="924"/>
                    <a:pt x="624" y="924"/>
                    <a:pt x="624" y="924"/>
                  </a:cubicBezTo>
                  <a:cubicBezTo>
                    <a:pt x="622" y="924"/>
                    <a:pt x="621" y="924"/>
                    <a:pt x="618" y="924"/>
                  </a:cubicBezTo>
                  <a:cubicBezTo>
                    <a:pt x="616" y="924"/>
                    <a:pt x="614" y="924"/>
                    <a:pt x="612" y="924"/>
                  </a:cubicBezTo>
                  <a:cubicBezTo>
                    <a:pt x="604" y="924"/>
                    <a:pt x="595" y="924"/>
                    <a:pt x="587" y="924"/>
                  </a:cubicBezTo>
                  <a:cubicBezTo>
                    <a:pt x="580" y="925"/>
                    <a:pt x="574" y="925"/>
                    <a:pt x="574" y="925"/>
                  </a:cubicBezTo>
                  <a:cubicBezTo>
                    <a:pt x="570" y="925"/>
                    <a:pt x="567" y="928"/>
                    <a:pt x="567" y="933"/>
                  </a:cubicBezTo>
                  <a:cubicBezTo>
                    <a:pt x="567" y="935"/>
                    <a:pt x="568" y="936"/>
                    <a:pt x="570" y="938"/>
                  </a:cubicBezTo>
                  <a:cubicBezTo>
                    <a:pt x="337" y="934"/>
                    <a:pt x="337" y="934"/>
                    <a:pt x="337" y="934"/>
                  </a:cubicBezTo>
                  <a:cubicBezTo>
                    <a:pt x="299" y="929"/>
                    <a:pt x="263" y="925"/>
                    <a:pt x="233" y="922"/>
                  </a:cubicBezTo>
                  <a:cubicBezTo>
                    <a:pt x="213" y="920"/>
                    <a:pt x="196" y="918"/>
                    <a:pt x="182" y="917"/>
                  </a:cubicBezTo>
                  <a:cubicBezTo>
                    <a:pt x="176" y="916"/>
                    <a:pt x="170" y="915"/>
                    <a:pt x="166" y="915"/>
                  </a:cubicBezTo>
                  <a:cubicBezTo>
                    <a:pt x="161" y="915"/>
                    <a:pt x="158" y="915"/>
                    <a:pt x="156" y="915"/>
                  </a:cubicBezTo>
                  <a:cubicBezTo>
                    <a:pt x="156" y="915"/>
                    <a:pt x="155" y="915"/>
                    <a:pt x="155" y="915"/>
                  </a:cubicBezTo>
                  <a:cubicBezTo>
                    <a:pt x="155" y="915"/>
                    <a:pt x="154" y="915"/>
                    <a:pt x="154" y="915"/>
                  </a:cubicBezTo>
                  <a:cubicBezTo>
                    <a:pt x="154" y="915"/>
                    <a:pt x="154" y="915"/>
                    <a:pt x="153" y="915"/>
                  </a:cubicBezTo>
                  <a:cubicBezTo>
                    <a:pt x="153" y="915"/>
                    <a:pt x="153" y="915"/>
                    <a:pt x="152" y="916"/>
                  </a:cubicBezTo>
                  <a:cubicBezTo>
                    <a:pt x="151" y="916"/>
                    <a:pt x="150" y="917"/>
                    <a:pt x="149" y="918"/>
                  </a:cubicBezTo>
                  <a:cubicBezTo>
                    <a:pt x="148" y="920"/>
                    <a:pt x="145" y="922"/>
                    <a:pt x="143" y="924"/>
                  </a:cubicBezTo>
                  <a:cubicBezTo>
                    <a:pt x="140" y="926"/>
                    <a:pt x="138" y="929"/>
                    <a:pt x="136" y="931"/>
                  </a:cubicBezTo>
                  <a:cubicBezTo>
                    <a:pt x="20" y="929"/>
                    <a:pt x="20" y="929"/>
                    <a:pt x="20" y="929"/>
                  </a:cubicBezTo>
                  <a:cubicBezTo>
                    <a:pt x="20" y="929"/>
                    <a:pt x="19" y="929"/>
                    <a:pt x="19" y="929"/>
                  </a:cubicBezTo>
                  <a:cubicBezTo>
                    <a:pt x="17" y="927"/>
                    <a:pt x="14" y="926"/>
                    <a:pt x="11" y="926"/>
                  </a:cubicBezTo>
                  <a:cubicBezTo>
                    <a:pt x="5" y="926"/>
                    <a:pt x="0" y="930"/>
                    <a:pt x="0" y="934"/>
                  </a:cubicBezTo>
                  <a:cubicBezTo>
                    <a:pt x="0" y="951"/>
                    <a:pt x="0" y="951"/>
                    <a:pt x="0" y="951"/>
                  </a:cubicBezTo>
                  <a:cubicBezTo>
                    <a:pt x="0" y="956"/>
                    <a:pt x="5" y="960"/>
                    <a:pt x="11" y="960"/>
                  </a:cubicBezTo>
                  <a:cubicBezTo>
                    <a:pt x="15" y="960"/>
                    <a:pt x="18" y="958"/>
                    <a:pt x="20" y="955"/>
                  </a:cubicBezTo>
                  <a:cubicBezTo>
                    <a:pt x="20" y="955"/>
                    <a:pt x="20" y="955"/>
                    <a:pt x="20" y="955"/>
                  </a:cubicBezTo>
                  <a:cubicBezTo>
                    <a:pt x="72" y="956"/>
                    <a:pt x="72" y="956"/>
                    <a:pt x="72" y="956"/>
                  </a:cubicBezTo>
                  <a:cubicBezTo>
                    <a:pt x="73" y="957"/>
                    <a:pt x="73" y="957"/>
                    <a:pt x="74" y="958"/>
                  </a:cubicBezTo>
                  <a:cubicBezTo>
                    <a:pt x="79" y="965"/>
                    <a:pt x="94" y="968"/>
                    <a:pt x="103" y="973"/>
                  </a:cubicBezTo>
                  <a:cubicBezTo>
                    <a:pt x="111" y="977"/>
                    <a:pt x="118" y="1004"/>
                    <a:pt x="121" y="1017"/>
                  </a:cubicBezTo>
                  <a:cubicBezTo>
                    <a:pt x="106" y="1028"/>
                    <a:pt x="97" y="1045"/>
                    <a:pt x="97" y="1065"/>
                  </a:cubicBezTo>
                  <a:cubicBezTo>
                    <a:pt x="97" y="1097"/>
                    <a:pt x="123" y="1124"/>
                    <a:pt x="156" y="1124"/>
                  </a:cubicBezTo>
                  <a:cubicBezTo>
                    <a:pt x="188" y="1124"/>
                    <a:pt x="214" y="1097"/>
                    <a:pt x="214" y="1065"/>
                  </a:cubicBezTo>
                  <a:cubicBezTo>
                    <a:pt x="214" y="1039"/>
                    <a:pt x="197" y="1016"/>
                    <a:pt x="174" y="1009"/>
                  </a:cubicBezTo>
                  <a:cubicBezTo>
                    <a:pt x="165" y="994"/>
                    <a:pt x="153" y="971"/>
                    <a:pt x="151" y="968"/>
                  </a:cubicBezTo>
                  <a:cubicBezTo>
                    <a:pt x="149" y="965"/>
                    <a:pt x="150" y="961"/>
                    <a:pt x="151" y="957"/>
                  </a:cubicBezTo>
                  <a:cubicBezTo>
                    <a:pt x="495" y="963"/>
                    <a:pt x="495" y="963"/>
                    <a:pt x="495" y="963"/>
                  </a:cubicBezTo>
                  <a:cubicBezTo>
                    <a:pt x="530" y="967"/>
                    <a:pt x="561" y="971"/>
                    <a:pt x="586" y="974"/>
                  </a:cubicBezTo>
                  <a:cubicBezTo>
                    <a:pt x="603" y="976"/>
                    <a:pt x="617" y="978"/>
                    <a:pt x="626" y="979"/>
                  </a:cubicBezTo>
                  <a:cubicBezTo>
                    <a:pt x="631" y="980"/>
                    <a:pt x="635" y="980"/>
                    <a:pt x="638" y="981"/>
                  </a:cubicBezTo>
                  <a:cubicBezTo>
                    <a:pt x="639" y="981"/>
                    <a:pt x="641" y="981"/>
                    <a:pt x="641" y="981"/>
                  </a:cubicBezTo>
                  <a:cubicBezTo>
                    <a:pt x="642" y="981"/>
                    <a:pt x="642" y="981"/>
                    <a:pt x="642" y="981"/>
                  </a:cubicBezTo>
                  <a:cubicBezTo>
                    <a:pt x="642" y="981"/>
                    <a:pt x="642" y="981"/>
                    <a:pt x="642" y="981"/>
                  </a:cubicBezTo>
                  <a:cubicBezTo>
                    <a:pt x="643" y="981"/>
                    <a:pt x="643" y="981"/>
                    <a:pt x="643" y="981"/>
                  </a:cubicBezTo>
                  <a:cubicBezTo>
                    <a:pt x="643" y="981"/>
                    <a:pt x="643" y="981"/>
                    <a:pt x="643" y="981"/>
                  </a:cubicBezTo>
                  <a:cubicBezTo>
                    <a:pt x="643" y="982"/>
                    <a:pt x="644" y="982"/>
                    <a:pt x="644" y="982"/>
                  </a:cubicBezTo>
                  <a:cubicBezTo>
                    <a:pt x="645" y="982"/>
                    <a:pt x="646" y="981"/>
                    <a:pt x="647" y="981"/>
                  </a:cubicBezTo>
                  <a:cubicBezTo>
                    <a:pt x="648" y="980"/>
                    <a:pt x="650" y="979"/>
                    <a:pt x="651" y="978"/>
                  </a:cubicBezTo>
                  <a:cubicBezTo>
                    <a:pt x="653" y="977"/>
                    <a:pt x="656" y="974"/>
                    <a:pt x="659" y="971"/>
                  </a:cubicBezTo>
                  <a:cubicBezTo>
                    <a:pt x="660" y="969"/>
                    <a:pt x="661" y="967"/>
                    <a:pt x="663" y="965"/>
                  </a:cubicBezTo>
                  <a:cubicBezTo>
                    <a:pt x="773" y="967"/>
                    <a:pt x="773" y="967"/>
                    <a:pt x="773" y="967"/>
                  </a:cubicBezTo>
                  <a:cubicBezTo>
                    <a:pt x="780" y="973"/>
                    <a:pt x="797" y="987"/>
                    <a:pt x="804" y="995"/>
                  </a:cubicBezTo>
                  <a:cubicBezTo>
                    <a:pt x="811" y="1004"/>
                    <a:pt x="820" y="1019"/>
                    <a:pt x="823" y="1024"/>
                  </a:cubicBezTo>
                  <a:cubicBezTo>
                    <a:pt x="813" y="1034"/>
                    <a:pt x="807" y="1049"/>
                    <a:pt x="807" y="1065"/>
                  </a:cubicBezTo>
                  <a:cubicBezTo>
                    <a:pt x="807" y="1097"/>
                    <a:pt x="833" y="1124"/>
                    <a:pt x="866" y="1124"/>
                  </a:cubicBezTo>
                  <a:cubicBezTo>
                    <a:pt x="898" y="1124"/>
                    <a:pt x="925" y="1097"/>
                    <a:pt x="925" y="1065"/>
                  </a:cubicBezTo>
                  <a:cubicBezTo>
                    <a:pt x="925" y="1034"/>
                    <a:pt x="900" y="1008"/>
                    <a:pt x="870" y="1006"/>
                  </a:cubicBezTo>
                  <a:cubicBezTo>
                    <a:pt x="868" y="1000"/>
                    <a:pt x="866" y="990"/>
                    <a:pt x="867" y="988"/>
                  </a:cubicBezTo>
                  <a:cubicBezTo>
                    <a:pt x="869" y="984"/>
                    <a:pt x="880" y="982"/>
                    <a:pt x="880" y="978"/>
                  </a:cubicBezTo>
                  <a:cubicBezTo>
                    <a:pt x="880" y="973"/>
                    <a:pt x="871" y="973"/>
                    <a:pt x="864" y="973"/>
                  </a:cubicBezTo>
                  <a:cubicBezTo>
                    <a:pt x="857" y="973"/>
                    <a:pt x="852" y="978"/>
                    <a:pt x="852" y="978"/>
                  </a:cubicBezTo>
                  <a:cubicBezTo>
                    <a:pt x="848" y="968"/>
                    <a:pt x="848" y="968"/>
                    <a:pt x="848" y="968"/>
                  </a:cubicBezTo>
                  <a:cubicBezTo>
                    <a:pt x="849" y="968"/>
                    <a:pt x="849" y="968"/>
                    <a:pt x="849" y="968"/>
                  </a:cubicBezTo>
                  <a:cubicBezTo>
                    <a:pt x="851" y="971"/>
                    <a:pt x="853" y="973"/>
                    <a:pt x="856" y="973"/>
                  </a:cubicBezTo>
                  <a:cubicBezTo>
                    <a:pt x="860" y="973"/>
                    <a:pt x="864" y="970"/>
                    <a:pt x="864" y="966"/>
                  </a:cubicBezTo>
                  <a:cubicBezTo>
                    <a:pt x="864" y="966"/>
                    <a:pt x="864" y="964"/>
                    <a:pt x="864" y="961"/>
                  </a:cubicBezTo>
                  <a:cubicBezTo>
                    <a:pt x="864" y="951"/>
                    <a:pt x="863" y="925"/>
                    <a:pt x="863" y="899"/>
                  </a:cubicBezTo>
                  <a:cubicBezTo>
                    <a:pt x="863" y="874"/>
                    <a:pt x="863" y="849"/>
                    <a:pt x="863" y="842"/>
                  </a:cubicBezTo>
                  <a:cubicBezTo>
                    <a:pt x="863" y="841"/>
                    <a:pt x="862" y="840"/>
                    <a:pt x="862" y="839"/>
                  </a:cubicBezTo>
                  <a:cubicBezTo>
                    <a:pt x="862" y="837"/>
                    <a:pt x="861" y="836"/>
                    <a:pt x="860" y="835"/>
                  </a:cubicBezTo>
                  <a:cubicBezTo>
                    <a:pt x="859" y="833"/>
                    <a:pt x="858" y="831"/>
                    <a:pt x="856" y="828"/>
                  </a:cubicBezTo>
                  <a:cubicBezTo>
                    <a:pt x="852" y="824"/>
                    <a:pt x="847" y="819"/>
                    <a:pt x="841" y="813"/>
                  </a:cubicBezTo>
                  <a:cubicBezTo>
                    <a:pt x="832" y="804"/>
                    <a:pt x="820" y="792"/>
                    <a:pt x="806" y="779"/>
                  </a:cubicBezTo>
                  <a:cubicBezTo>
                    <a:pt x="792" y="766"/>
                    <a:pt x="776" y="752"/>
                    <a:pt x="759" y="736"/>
                  </a:cubicBezTo>
                  <a:cubicBezTo>
                    <a:pt x="755" y="731"/>
                    <a:pt x="748" y="725"/>
                    <a:pt x="740" y="718"/>
                  </a:cubicBezTo>
                  <a:cubicBezTo>
                    <a:pt x="729" y="707"/>
                    <a:pt x="714" y="694"/>
                    <a:pt x="701" y="683"/>
                  </a:cubicBezTo>
                  <a:cubicBezTo>
                    <a:pt x="695" y="678"/>
                    <a:pt x="688" y="674"/>
                    <a:pt x="683" y="670"/>
                  </a:cubicBezTo>
                  <a:cubicBezTo>
                    <a:pt x="680" y="668"/>
                    <a:pt x="677" y="666"/>
                    <a:pt x="675" y="665"/>
                  </a:cubicBezTo>
                  <a:cubicBezTo>
                    <a:pt x="673" y="664"/>
                    <a:pt x="671" y="664"/>
                    <a:pt x="670" y="663"/>
                  </a:cubicBezTo>
                  <a:cubicBezTo>
                    <a:pt x="680" y="664"/>
                    <a:pt x="686" y="665"/>
                    <a:pt x="686" y="664"/>
                  </a:cubicBezTo>
                  <a:cubicBezTo>
                    <a:pt x="688" y="662"/>
                    <a:pt x="689" y="646"/>
                    <a:pt x="689" y="643"/>
                  </a:cubicBezTo>
                  <a:cubicBezTo>
                    <a:pt x="689" y="643"/>
                    <a:pt x="689" y="643"/>
                    <a:pt x="689" y="643"/>
                  </a:cubicBezTo>
                  <a:cubicBezTo>
                    <a:pt x="689" y="644"/>
                    <a:pt x="690" y="646"/>
                    <a:pt x="692" y="647"/>
                  </a:cubicBezTo>
                  <a:cubicBezTo>
                    <a:pt x="695" y="648"/>
                    <a:pt x="697" y="646"/>
                    <a:pt x="698" y="644"/>
                  </a:cubicBezTo>
                  <a:cubicBezTo>
                    <a:pt x="706" y="622"/>
                    <a:pt x="706" y="622"/>
                    <a:pt x="706" y="622"/>
                  </a:cubicBezTo>
                  <a:cubicBezTo>
                    <a:pt x="707" y="622"/>
                    <a:pt x="708" y="620"/>
                    <a:pt x="709" y="619"/>
                  </a:cubicBezTo>
                  <a:cubicBezTo>
                    <a:pt x="709" y="618"/>
                    <a:pt x="708" y="617"/>
                    <a:pt x="708" y="616"/>
                  </a:cubicBezTo>
                  <a:cubicBezTo>
                    <a:pt x="749" y="495"/>
                    <a:pt x="749" y="495"/>
                    <a:pt x="749" y="495"/>
                  </a:cubicBezTo>
                  <a:cubicBezTo>
                    <a:pt x="750" y="494"/>
                    <a:pt x="751" y="493"/>
                    <a:pt x="752" y="492"/>
                  </a:cubicBezTo>
                  <a:cubicBezTo>
                    <a:pt x="752" y="491"/>
                    <a:pt x="751" y="490"/>
                    <a:pt x="751" y="489"/>
                  </a:cubicBezTo>
                  <a:cubicBezTo>
                    <a:pt x="803" y="335"/>
                    <a:pt x="803" y="335"/>
                    <a:pt x="803" y="335"/>
                  </a:cubicBezTo>
                  <a:cubicBezTo>
                    <a:pt x="805" y="334"/>
                    <a:pt x="806" y="333"/>
                    <a:pt x="806" y="332"/>
                  </a:cubicBezTo>
                  <a:cubicBezTo>
                    <a:pt x="806" y="331"/>
                    <a:pt x="805" y="330"/>
                    <a:pt x="805" y="330"/>
                  </a:cubicBezTo>
                  <a:cubicBezTo>
                    <a:pt x="843" y="217"/>
                    <a:pt x="843" y="217"/>
                    <a:pt x="843" y="217"/>
                  </a:cubicBezTo>
                  <a:cubicBezTo>
                    <a:pt x="843" y="217"/>
                    <a:pt x="843" y="217"/>
                    <a:pt x="844" y="217"/>
                  </a:cubicBezTo>
                  <a:cubicBezTo>
                    <a:pt x="845" y="217"/>
                    <a:pt x="846" y="217"/>
                    <a:pt x="847" y="218"/>
                  </a:cubicBezTo>
                  <a:cubicBezTo>
                    <a:pt x="848" y="218"/>
                    <a:pt x="848" y="218"/>
                    <a:pt x="849" y="218"/>
                  </a:cubicBezTo>
                  <a:cubicBezTo>
                    <a:pt x="849" y="218"/>
                    <a:pt x="850" y="218"/>
                    <a:pt x="851" y="218"/>
                  </a:cubicBezTo>
                  <a:cubicBezTo>
                    <a:pt x="851" y="218"/>
                    <a:pt x="851" y="218"/>
                    <a:pt x="851" y="218"/>
                  </a:cubicBezTo>
                  <a:cubicBezTo>
                    <a:pt x="852" y="218"/>
                    <a:pt x="852" y="218"/>
                    <a:pt x="853" y="218"/>
                  </a:cubicBezTo>
                  <a:cubicBezTo>
                    <a:pt x="854" y="217"/>
                    <a:pt x="857" y="217"/>
                    <a:pt x="860" y="216"/>
                  </a:cubicBezTo>
                  <a:cubicBezTo>
                    <a:pt x="865" y="214"/>
                    <a:pt x="870" y="212"/>
                    <a:pt x="875" y="210"/>
                  </a:cubicBezTo>
                  <a:cubicBezTo>
                    <a:pt x="877" y="209"/>
                    <a:pt x="879" y="208"/>
                    <a:pt x="881" y="207"/>
                  </a:cubicBezTo>
                  <a:cubicBezTo>
                    <a:pt x="882" y="206"/>
                    <a:pt x="882" y="206"/>
                    <a:pt x="883" y="205"/>
                  </a:cubicBezTo>
                  <a:cubicBezTo>
                    <a:pt x="883" y="205"/>
                    <a:pt x="884" y="204"/>
                    <a:pt x="884" y="204"/>
                  </a:cubicBezTo>
                  <a:cubicBezTo>
                    <a:pt x="884" y="203"/>
                    <a:pt x="885" y="202"/>
                    <a:pt x="885" y="202"/>
                  </a:cubicBezTo>
                  <a:cubicBezTo>
                    <a:pt x="885" y="202"/>
                    <a:pt x="885" y="202"/>
                    <a:pt x="885" y="202"/>
                  </a:cubicBezTo>
                  <a:cubicBezTo>
                    <a:pt x="885" y="201"/>
                    <a:pt x="885" y="201"/>
                    <a:pt x="885" y="200"/>
                  </a:cubicBezTo>
                  <a:cubicBezTo>
                    <a:pt x="887" y="192"/>
                    <a:pt x="894" y="167"/>
                    <a:pt x="901" y="143"/>
                  </a:cubicBezTo>
                  <a:cubicBezTo>
                    <a:pt x="903" y="142"/>
                    <a:pt x="905" y="140"/>
                    <a:pt x="905" y="137"/>
                  </a:cubicBezTo>
                  <a:cubicBezTo>
                    <a:pt x="904" y="136"/>
                    <a:pt x="904" y="136"/>
                    <a:pt x="903" y="135"/>
                  </a:cubicBezTo>
                  <a:cubicBezTo>
                    <a:pt x="907" y="124"/>
                    <a:pt x="910" y="113"/>
                    <a:pt x="912" y="105"/>
                  </a:cubicBezTo>
                  <a:cubicBezTo>
                    <a:pt x="913" y="101"/>
                    <a:pt x="914" y="97"/>
                    <a:pt x="915" y="94"/>
                  </a:cubicBezTo>
                  <a:cubicBezTo>
                    <a:pt x="916" y="93"/>
                    <a:pt x="916" y="92"/>
                    <a:pt x="916" y="91"/>
                  </a:cubicBezTo>
                  <a:cubicBezTo>
                    <a:pt x="916" y="91"/>
                    <a:pt x="916" y="91"/>
                    <a:pt x="916" y="90"/>
                  </a:cubicBezTo>
                  <a:cubicBezTo>
                    <a:pt x="917" y="90"/>
                    <a:pt x="917" y="90"/>
                    <a:pt x="917" y="90"/>
                  </a:cubicBezTo>
                  <a:cubicBezTo>
                    <a:pt x="918" y="89"/>
                    <a:pt x="919" y="89"/>
                    <a:pt x="920" y="87"/>
                  </a:cubicBezTo>
                  <a:cubicBezTo>
                    <a:pt x="925" y="84"/>
                    <a:pt x="934" y="78"/>
                    <a:pt x="941" y="73"/>
                  </a:cubicBezTo>
                  <a:cubicBezTo>
                    <a:pt x="942" y="72"/>
                    <a:pt x="942" y="72"/>
                    <a:pt x="943" y="72"/>
                  </a:cubicBezTo>
                  <a:cubicBezTo>
                    <a:pt x="944" y="72"/>
                    <a:pt x="946" y="73"/>
                    <a:pt x="946" y="73"/>
                  </a:cubicBezTo>
                  <a:cubicBezTo>
                    <a:pt x="947" y="73"/>
                    <a:pt x="950" y="73"/>
                    <a:pt x="951" y="72"/>
                  </a:cubicBezTo>
                  <a:cubicBezTo>
                    <a:pt x="951" y="70"/>
                    <a:pt x="950" y="69"/>
                    <a:pt x="950" y="69"/>
                  </a:cubicBezTo>
                  <a:cubicBezTo>
                    <a:pt x="950" y="69"/>
                    <a:pt x="984" y="43"/>
                    <a:pt x="985" y="42"/>
                  </a:cubicBezTo>
                  <a:cubicBezTo>
                    <a:pt x="987" y="40"/>
                    <a:pt x="998" y="29"/>
                    <a:pt x="988" y="15"/>
                  </a:cubicBezTo>
                  <a:close/>
                  <a:moveTo>
                    <a:pt x="156" y="1094"/>
                  </a:moveTo>
                  <a:cubicBezTo>
                    <a:pt x="140" y="1094"/>
                    <a:pt x="127" y="1081"/>
                    <a:pt x="127" y="1065"/>
                  </a:cubicBezTo>
                  <a:cubicBezTo>
                    <a:pt x="127" y="1049"/>
                    <a:pt x="140" y="1036"/>
                    <a:pt x="156" y="1036"/>
                  </a:cubicBezTo>
                  <a:cubicBezTo>
                    <a:pt x="171" y="1036"/>
                    <a:pt x="184" y="1049"/>
                    <a:pt x="184" y="1065"/>
                  </a:cubicBezTo>
                  <a:cubicBezTo>
                    <a:pt x="184" y="1081"/>
                    <a:pt x="171" y="1094"/>
                    <a:pt x="156" y="1094"/>
                  </a:cubicBezTo>
                  <a:close/>
                  <a:moveTo>
                    <a:pt x="150" y="931"/>
                  </a:moveTo>
                  <a:cubicBezTo>
                    <a:pt x="151" y="930"/>
                    <a:pt x="152" y="929"/>
                    <a:pt x="153" y="927"/>
                  </a:cubicBezTo>
                  <a:cubicBezTo>
                    <a:pt x="155" y="927"/>
                    <a:pt x="155" y="926"/>
                    <a:pt x="156" y="925"/>
                  </a:cubicBezTo>
                  <a:cubicBezTo>
                    <a:pt x="156" y="925"/>
                    <a:pt x="157" y="925"/>
                    <a:pt x="157" y="924"/>
                  </a:cubicBezTo>
                  <a:cubicBezTo>
                    <a:pt x="158" y="924"/>
                    <a:pt x="159" y="924"/>
                    <a:pt x="160" y="925"/>
                  </a:cubicBezTo>
                  <a:cubicBezTo>
                    <a:pt x="166" y="925"/>
                    <a:pt x="179" y="926"/>
                    <a:pt x="195" y="928"/>
                  </a:cubicBezTo>
                  <a:cubicBezTo>
                    <a:pt x="207" y="929"/>
                    <a:pt x="221" y="931"/>
                    <a:pt x="237" y="932"/>
                  </a:cubicBezTo>
                  <a:lnTo>
                    <a:pt x="150" y="931"/>
                  </a:lnTo>
                  <a:close/>
                  <a:moveTo>
                    <a:pt x="646" y="970"/>
                  </a:moveTo>
                  <a:cubicBezTo>
                    <a:pt x="645" y="971"/>
                    <a:pt x="644" y="971"/>
                    <a:pt x="644" y="972"/>
                  </a:cubicBezTo>
                  <a:cubicBezTo>
                    <a:pt x="642" y="971"/>
                    <a:pt x="639" y="971"/>
                    <a:pt x="635" y="970"/>
                  </a:cubicBezTo>
                  <a:cubicBezTo>
                    <a:pt x="625" y="969"/>
                    <a:pt x="609" y="967"/>
                    <a:pt x="587" y="964"/>
                  </a:cubicBezTo>
                  <a:cubicBezTo>
                    <a:pt x="650" y="965"/>
                    <a:pt x="650" y="965"/>
                    <a:pt x="650" y="965"/>
                  </a:cubicBezTo>
                  <a:cubicBezTo>
                    <a:pt x="649" y="967"/>
                    <a:pt x="647" y="969"/>
                    <a:pt x="646" y="970"/>
                  </a:cubicBezTo>
                  <a:close/>
                  <a:moveTo>
                    <a:pt x="894" y="1065"/>
                  </a:moveTo>
                  <a:cubicBezTo>
                    <a:pt x="894" y="1081"/>
                    <a:pt x="882" y="1094"/>
                    <a:pt x="866" y="1094"/>
                  </a:cubicBezTo>
                  <a:cubicBezTo>
                    <a:pt x="850" y="1094"/>
                    <a:pt x="837" y="1081"/>
                    <a:pt x="837" y="1065"/>
                  </a:cubicBezTo>
                  <a:cubicBezTo>
                    <a:pt x="837" y="1049"/>
                    <a:pt x="850" y="1036"/>
                    <a:pt x="866" y="1036"/>
                  </a:cubicBezTo>
                  <a:cubicBezTo>
                    <a:pt x="882" y="1036"/>
                    <a:pt x="894" y="1049"/>
                    <a:pt x="894" y="1065"/>
                  </a:cubicBezTo>
                  <a:close/>
                  <a:moveTo>
                    <a:pt x="674" y="682"/>
                  </a:moveTo>
                  <a:cubicBezTo>
                    <a:pt x="679" y="685"/>
                    <a:pt x="686" y="690"/>
                    <a:pt x="693" y="696"/>
                  </a:cubicBezTo>
                  <a:cubicBezTo>
                    <a:pt x="703" y="704"/>
                    <a:pt x="715" y="714"/>
                    <a:pt x="725" y="723"/>
                  </a:cubicBezTo>
                  <a:cubicBezTo>
                    <a:pt x="735" y="733"/>
                    <a:pt x="744" y="741"/>
                    <a:pt x="749" y="746"/>
                  </a:cubicBezTo>
                  <a:cubicBezTo>
                    <a:pt x="778" y="773"/>
                    <a:pt x="803" y="797"/>
                    <a:pt x="821" y="814"/>
                  </a:cubicBezTo>
                  <a:cubicBezTo>
                    <a:pt x="829" y="822"/>
                    <a:pt x="836" y="829"/>
                    <a:pt x="841" y="834"/>
                  </a:cubicBezTo>
                  <a:cubicBezTo>
                    <a:pt x="836" y="834"/>
                    <a:pt x="832" y="838"/>
                    <a:pt x="832" y="843"/>
                  </a:cubicBezTo>
                  <a:cubicBezTo>
                    <a:pt x="832" y="848"/>
                    <a:pt x="836" y="852"/>
                    <a:pt x="841" y="852"/>
                  </a:cubicBezTo>
                  <a:cubicBezTo>
                    <a:pt x="844" y="852"/>
                    <a:pt x="846" y="850"/>
                    <a:pt x="848" y="848"/>
                  </a:cubicBezTo>
                  <a:cubicBezTo>
                    <a:pt x="848" y="862"/>
                    <a:pt x="848" y="887"/>
                    <a:pt x="848" y="910"/>
                  </a:cubicBezTo>
                  <a:cubicBezTo>
                    <a:pt x="848" y="922"/>
                    <a:pt x="849" y="933"/>
                    <a:pt x="849" y="942"/>
                  </a:cubicBezTo>
                  <a:cubicBezTo>
                    <a:pt x="688" y="940"/>
                    <a:pt x="688" y="940"/>
                    <a:pt x="688" y="940"/>
                  </a:cubicBezTo>
                  <a:cubicBezTo>
                    <a:pt x="693" y="938"/>
                    <a:pt x="696" y="934"/>
                    <a:pt x="696" y="928"/>
                  </a:cubicBezTo>
                  <a:cubicBezTo>
                    <a:pt x="696" y="926"/>
                    <a:pt x="695" y="924"/>
                    <a:pt x="694" y="922"/>
                  </a:cubicBezTo>
                  <a:cubicBezTo>
                    <a:pt x="705" y="907"/>
                    <a:pt x="712" y="895"/>
                    <a:pt x="712" y="895"/>
                  </a:cubicBezTo>
                  <a:cubicBezTo>
                    <a:pt x="714" y="893"/>
                    <a:pt x="713" y="890"/>
                    <a:pt x="711" y="888"/>
                  </a:cubicBezTo>
                  <a:cubicBezTo>
                    <a:pt x="709" y="887"/>
                    <a:pt x="706" y="887"/>
                    <a:pt x="704" y="890"/>
                  </a:cubicBezTo>
                  <a:cubicBezTo>
                    <a:pt x="704" y="890"/>
                    <a:pt x="704" y="890"/>
                    <a:pt x="704" y="890"/>
                  </a:cubicBezTo>
                  <a:cubicBezTo>
                    <a:pt x="702" y="894"/>
                    <a:pt x="695" y="904"/>
                    <a:pt x="686" y="917"/>
                  </a:cubicBezTo>
                  <a:cubicBezTo>
                    <a:pt x="685" y="917"/>
                    <a:pt x="685" y="917"/>
                    <a:pt x="684" y="917"/>
                  </a:cubicBezTo>
                  <a:cubicBezTo>
                    <a:pt x="678" y="917"/>
                    <a:pt x="672" y="922"/>
                    <a:pt x="672" y="928"/>
                  </a:cubicBezTo>
                  <a:cubicBezTo>
                    <a:pt x="672" y="931"/>
                    <a:pt x="673" y="932"/>
                    <a:pt x="674" y="934"/>
                  </a:cubicBezTo>
                  <a:cubicBezTo>
                    <a:pt x="674" y="935"/>
                    <a:pt x="673" y="935"/>
                    <a:pt x="673" y="936"/>
                  </a:cubicBezTo>
                  <a:cubicBezTo>
                    <a:pt x="672" y="937"/>
                    <a:pt x="671" y="938"/>
                    <a:pt x="670" y="939"/>
                  </a:cubicBezTo>
                  <a:cubicBezTo>
                    <a:pt x="628" y="939"/>
                    <a:pt x="628" y="939"/>
                    <a:pt x="628" y="939"/>
                  </a:cubicBezTo>
                  <a:cubicBezTo>
                    <a:pt x="629" y="938"/>
                    <a:pt x="629" y="938"/>
                    <a:pt x="629" y="938"/>
                  </a:cubicBezTo>
                  <a:cubicBezTo>
                    <a:pt x="631" y="938"/>
                    <a:pt x="632" y="937"/>
                    <a:pt x="633" y="936"/>
                  </a:cubicBezTo>
                  <a:cubicBezTo>
                    <a:pt x="635" y="934"/>
                    <a:pt x="636" y="932"/>
                    <a:pt x="637" y="930"/>
                  </a:cubicBezTo>
                  <a:cubicBezTo>
                    <a:pt x="639" y="927"/>
                    <a:pt x="639" y="925"/>
                    <a:pt x="640" y="922"/>
                  </a:cubicBezTo>
                  <a:cubicBezTo>
                    <a:pt x="640" y="919"/>
                    <a:pt x="640" y="916"/>
                    <a:pt x="640" y="914"/>
                  </a:cubicBezTo>
                  <a:cubicBezTo>
                    <a:pt x="640" y="913"/>
                    <a:pt x="640" y="911"/>
                    <a:pt x="640" y="908"/>
                  </a:cubicBezTo>
                  <a:cubicBezTo>
                    <a:pt x="640" y="896"/>
                    <a:pt x="641" y="871"/>
                    <a:pt x="641" y="849"/>
                  </a:cubicBezTo>
                  <a:cubicBezTo>
                    <a:pt x="641" y="838"/>
                    <a:pt x="641" y="827"/>
                    <a:pt x="641" y="818"/>
                  </a:cubicBezTo>
                  <a:cubicBezTo>
                    <a:pt x="641" y="810"/>
                    <a:pt x="641" y="804"/>
                    <a:pt x="641" y="801"/>
                  </a:cubicBezTo>
                  <a:cubicBezTo>
                    <a:pt x="641" y="800"/>
                    <a:pt x="641" y="799"/>
                    <a:pt x="641" y="799"/>
                  </a:cubicBezTo>
                  <a:cubicBezTo>
                    <a:pt x="640" y="797"/>
                    <a:pt x="640" y="796"/>
                    <a:pt x="639" y="795"/>
                  </a:cubicBezTo>
                  <a:cubicBezTo>
                    <a:pt x="638" y="794"/>
                    <a:pt x="637" y="792"/>
                    <a:pt x="636" y="791"/>
                  </a:cubicBezTo>
                  <a:cubicBezTo>
                    <a:pt x="633" y="787"/>
                    <a:pt x="629" y="783"/>
                    <a:pt x="624" y="779"/>
                  </a:cubicBezTo>
                  <a:cubicBezTo>
                    <a:pt x="616" y="771"/>
                    <a:pt x="605" y="762"/>
                    <a:pt x="593" y="752"/>
                  </a:cubicBezTo>
                  <a:cubicBezTo>
                    <a:pt x="575" y="737"/>
                    <a:pt x="555" y="720"/>
                    <a:pt x="539" y="707"/>
                  </a:cubicBezTo>
                  <a:cubicBezTo>
                    <a:pt x="530" y="701"/>
                    <a:pt x="523" y="695"/>
                    <a:pt x="518" y="690"/>
                  </a:cubicBezTo>
                  <a:cubicBezTo>
                    <a:pt x="515" y="688"/>
                    <a:pt x="513" y="686"/>
                    <a:pt x="511" y="685"/>
                  </a:cubicBezTo>
                  <a:cubicBezTo>
                    <a:pt x="509" y="683"/>
                    <a:pt x="508" y="682"/>
                    <a:pt x="507" y="682"/>
                  </a:cubicBezTo>
                  <a:cubicBezTo>
                    <a:pt x="506" y="681"/>
                    <a:pt x="505" y="679"/>
                    <a:pt x="504" y="677"/>
                  </a:cubicBezTo>
                  <a:cubicBezTo>
                    <a:pt x="503" y="674"/>
                    <a:pt x="502" y="672"/>
                    <a:pt x="502" y="670"/>
                  </a:cubicBezTo>
                  <a:cubicBezTo>
                    <a:pt x="502" y="668"/>
                    <a:pt x="502" y="667"/>
                    <a:pt x="503" y="666"/>
                  </a:cubicBezTo>
                  <a:cubicBezTo>
                    <a:pt x="503" y="665"/>
                    <a:pt x="503" y="665"/>
                    <a:pt x="504" y="664"/>
                  </a:cubicBezTo>
                  <a:cubicBezTo>
                    <a:pt x="505" y="663"/>
                    <a:pt x="506" y="663"/>
                    <a:pt x="507" y="662"/>
                  </a:cubicBezTo>
                  <a:cubicBezTo>
                    <a:pt x="509" y="661"/>
                    <a:pt x="511" y="661"/>
                    <a:pt x="515" y="661"/>
                  </a:cubicBezTo>
                  <a:cubicBezTo>
                    <a:pt x="515" y="661"/>
                    <a:pt x="516" y="661"/>
                    <a:pt x="516" y="661"/>
                  </a:cubicBezTo>
                  <a:cubicBezTo>
                    <a:pt x="523" y="661"/>
                    <a:pt x="535" y="662"/>
                    <a:pt x="549" y="663"/>
                  </a:cubicBezTo>
                  <a:cubicBezTo>
                    <a:pt x="570" y="665"/>
                    <a:pt x="595" y="668"/>
                    <a:pt x="617" y="671"/>
                  </a:cubicBezTo>
                  <a:cubicBezTo>
                    <a:pt x="628" y="672"/>
                    <a:pt x="639" y="673"/>
                    <a:pt x="647" y="674"/>
                  </a:cubicBezTo>
                  <a:cubicBezTo>
                    <a:pt x="651" y="675"/>
                    <a:pt x="654" y="676"/>
                    <a:pt x="657" y="676"/>
                  </a:cubicBezTo>
                  <a:cubicBezTo>
                    <a:pt x="660" y="676"/>
                    <a:pt x="663" y="677"/>
                    <a:pt x="664" y="677"/>
                  </a:cubicBezTo>
                  <a:cubicBezTo>
                    <a:pt x="665" y="677"/>
                    <a:pt x="665" y="677"/>
                    <a:pt x="666" y="678"/>
                  </a:cubicBezTo>
                  <a:cubicBezTo>
                    <a:pt x="668" y="679"/>
                    <a:pt x="671" y="680"/>
                    <a:pt x="674" y="682"/>
                  </a:cubicBezTo>
                  <a:close/>
                  <a:moveTo>
                    <a:pt x="855" y="118"/>
                  </a:moveTo>
                  <a:cubicBezTo>
                    <a:pt x="901" y="114"/>
                    <a:pt x="901" y="114"/>
                    <a:pt x="901" y="114"/>
                  </a:cubicBezTo>
                  <a:cubicBezTo>
                    <a:pt x="899" y="120"/>
                    <a:pt x="897" y="126"/>
                    <a:pt x="895" y="133"/>
                  </a:cubicBezTo>
                  <a:cubicBezTo>
                    <a:pt x="870" y="136"/>
                    <a:pt x="870" y="136"/>
                    <a:pt x="870" y="136"/>
                  </a:cubicBezTo>
                  <a:cubicBezTo>
                    <a:pt x="870" y="134"/>
                    <a:pt x="869" y="133"/>
                    <a:pt x="867" y="132"/>
                  </a:cubicBezTo>
                  <a:cubicBezTo>
                    <a:pt x="864" y="131"/>
                    <a:pt x="862" y="133"/>
                    <a:pt x="861" y="135"/>
                  </a:cubicBezTo>
                  <a:cubicBezTo>
                    <a:pt x="860" y="137"/>
                    <a:pt x="860" y="137"/>
                    <a:pt x="860" y="137"/>
                  </a:cubicBezTo>
                  <a:cubicBezTo>
                    <a:pt x="845" y="138"/>
                    <a:pt x="845" y="138"/>
                    <a:pt x="845" y="138"/>
                  </a:cubicBezTo>
                  <a:cubicBezTo>
                    <a:pt x="848" y="131"/>
                    <a:pt x="852" y="124"/>
                    <a:pt x="855" y="118"/>
                  </a:cubicBezTo>
                  <a:close/>
                  <a:moveTo>
                    <a:pt x="841" y="192"/>
                  </a:moveTo>
                  <a:cubicBezTo>
                    <a:pt x="841" y="191"/>
                    <a:pt x="841" y="191"/>
                    <a:pt x="841" y="191"/>
                  </a:cubicBezTo>
                  <a:cubicBezTo>
                    <a:pt x="842" y="189"/>
                    <a:pt x="841" y="187"/>
                    <a:pt x="839" y="186"/>
                  </a:cubicBezTo>
                  <a:cubicBezTo>
                    <a:pt x="837" y="185"/>
                    <a:pt x="834" y="187"/>
                    <a:pt x="833" y="189"/>
                  </a:cubicBezTo>
                  <a:cubicBezTo>
                    <a:pt x="832" y="192"/>
                    <a:pt x="832" y="192"/>
                    <a:pt x="832" y="192"/>
                  </a:cubicBezTo>
                  <a:cubicBezTo>
                    <a:pt x="822" y="193"/>
                    <a:pt x="822" y="193"/>
                    <a:pt x="822" y="193"/>
                  </a:cubicBezTo>
                  <a:cubicBezTo>
                    <a:pt x="833" y="163"/>
                    <a:pt x="833" y="163"/>
                    <a:pt x="833" y="163"/>
                  </a:cubicBezTo>
                  <a:cubicBezTo>
                    <a:pt x="835" y="158"/>
                    <a:pt x="837" y="153"/>
                    <a:pt x="840" y="148"/>
                  </a:cubicBezTo>
                  <a:cubicBezTo>
                    <a:pt x="857" y="147"/>
                    <a:pt x="857" y="147"/>
                    <a:pt x="857" y="147"/>
                  </a:cubicBezTo>
                  <a:cubicBezTo>
                    <a:pt x="841" y="192"/>
                    <a:pt x="841" y="192"/>
                    <a:pt x="841" y="192"/>
                  </a:cubicBezTo>
                  <a:close/>
                  <a:moveTo>
                    <a:pt x="449" y="593"/>
                  </a:moveTo>
                  <a:cubicBezTo>
                    <a:pt x="449" y="591"/>
                    <a:pt x="449" y="591"/>
                    <a:pt x="449" y="591"/>
                  </a:cubicBezTo>
                  <a:cubicBezTo>
                    <a:pt x="470" y="594"/>
                    <a:pt x="470" y="594"/>
                    <a:pt x="470" y="594"/>
                  </a:cubicBezTo>
                  <a:cubicBezTo>
                    <a:pt x="469" y="596"/>
                    <a:pt x="469" y="596"/>
                    <a:pt x="469" y="596"/>
                  </a:cubicBezTo>
                  <a:cubicBezTo>
                    <a:pt x="461" y="595"/>
                    <a:pt x="454" y="594"/>
                    <a:pt x="449" y="593"/>
                  </a:cubicBezTo>
                  <a:close/>
                  <a:moveTo>
                    <a:pt x="198" y="554"/>
                  </a:moveTo>
                  <a:cubicBezTo>
                    <a:pt x="177" y="552"/>
                    <a:pt x="177" y="552"/>
                    <a:pt x="177" y="552"/>
                  </a:cubicBezTo>
                  <a:cubicBezTo>
                    <a:pt x="186" y="458"/>
                    <a:pt x="186" y="458"/>
                    <a:pt x="186" y="458"/>
                  </a:cubicBezTo>
                  <a:cubicBezTo>
                    <a:pt x="209" y="459"/>
                    <a:pt x="209" y="459"/>
                    <a:pt x="209" y="459"/>
                  </a:cubicBezTo>
                  <a:lnTo>
                    <a:pt x="198" y="554"/>
                  </a:lnTo>
                  <a:close/>
                  <a:moveTo>
                    <a:pt x="179" y="208"/>
                  </a:moveTo>
                  <a:cubicBezTo>
                    <a:pt x="195" y="207"/>
                    <a:pt x="195" y="207"/>
                    <a:pt x="195" y="207"/>
                  </a:cubicBezTo>
                  <a:cubicBezTo>
                    <a:pt x="195" y="209"/>
                    <a:pt x="195" y="209"/>
                    <a:pt x="195" y="209"/>
                  </a:cubicBezTo>
                  <a:cubicBezTo>
                    <a:pt x="207" y="208"/>
                    <a:pt x="207" y="208"/>
                    <a:pt x="207" y="208"/>
                  </a:cubicBezTo>
                  <a:cubicBezTo>
                    <a:pt x="203" y="241"/>
                    <a:pt x="203" y="241"/>
                    <a:pt x="203" y="241"/>
                  </a:cubicBezTo>
                  <a:cubicBezTo>
                    <a:pt x="177" y="243"/>
                    <a:pt x="177" y="243"/>
                    <a:pt x="177" y="243"/>
                  </a:cubicBezTo>
                  <a:lnTo>
                    <a:pt x="179" y="208"/>
                  </a:lnTo>
                  <a:close/>
                  <a:moveTo>
                    <a:pt x="268" y="202"/>
                  </a:moveTo>
                  <a:cubicBezTo>
                    <a:pt x="263" y="236"/>
                    <a:pt x="263" y="236"/>
                    <a:pt x="263" y="236"/>
                  </a:cubicBezTo>
                  <a:cubicBezTo>
                    <a:pt x="238" y="238"/>
                    <a:pt x="238" y="238"/>
                    <a:pt x="238" y="238"/>
                  </a:cubicBezTo>
                  <a:cubicBezTo>
                    <a:pt x="242" y="205"/>
                    <a:pt x="242" y="205"/>
                    <a:pt x="242" y="205"/>
                  </a:cubicBezTo>
                  <a:lnTo>
                    <a:pt x="268" y="202"/>
                  </a:lnTo>
                  <a:close/>
                  <a:moveTo>
                    <a:pt x="331" y="197"/>
                  </a:moveTo>
                  <a:cubicBezTo>
                    <a:pt x="326" y="232"/>
                    <a:pt x="326" y="232"/>
                    <a:pt x="326" y="232"/>
                  </a:cubicBezTo>
                  <a:cubicBezTo>
                    <a:pt x="298" y="234"/>
                    <a:pt x="298" y="234"/>
                    <a:pt x="298" y="234"/>
                  </a:cubicBezTo>
                  <a:cubicBezTo>
                    <a:pt x="303" y="199"/>
                    <a:pt x="303" y="199"/>
                    <a:pt x="303" y="199"/>
                  </a:cubicBezTo>
                  <a:lnTo>
                    <a:pt x="331" y="197"/>
                  </a:lnTo>
                  <a:close/>
                  <a:moveTo>
                    <a:pt x="394" y="191"/>
                  </a:moveTo>
                  <a:cubicBezTo>
                    <a:pt x="387" y="227"/>
                    <a:pt x="387" y="227"/>
                    <a:pt x="387" y="227"/>
                  </a:cubicBezTo>
                  <a:cubicBezTo>
                    <a:pt x="359" y="229"/>
                    <a:pt x="359" y="229"/>
                    <a:pt x="359" y="229"/>
                  </a:cubicBezTo>
                  <a:cubicBezTo>
                    <a:pt x="365" y="193"/>
                    <a:pt x="365" y="193"/>
                    <a:pt x="365" y="193"/>
                  </a:cubicBezTo>
                  <a:lnTo>
                    <a:pt x="394" y="191"/>
                  </a:lnTo>
                  <a:close/>
                  <a:moveTo>
                    <a:pt x="456" y="185"/>
                  </a:moveTo>
                  <a:cubicBezTo>
                    <a:pt x="448" y="222"/>
                    <a:pt x="448" y="222"/>
                    <a:pt x="448" y="222"/>
                  </a:cubicBezTo>
                  <a:cubicBezTo>
                    <a:pt x="420" y="224"/>
                    <a:pt x="420" y="224"/>
                    <a:pt x="420" y="224"/>
                  </a:cubicBezTo>
                  <a:cubicBezTo>
                    <a:pt x="427" y="188"/>
                    <a:pt x="427" y="188"/>
                    <a:pt x="427" y="188"/>
                  </a:cubicBezTo>
                  <a:lnTo>
                    <a:pt x="456" y="185"/>
                  </a:lnTo>
                  <a:close/>
                  <a:moveTo>
                    <a:pt x="518" y="179"/>
                  </a:moveTo>
                  <a:cubicBezTo>
                    <a:pt x="509" y="217"/>
                    <a:pt x="509" y="217"/>
                    <a:pt x="509" y="217"/>
                  </a:cubicBezTo>
                  <a:cubicBezTo>
                    <a:pt x="483" y="219"/>
                    <a:pt x="483" y="219"/>
                    <a:pt x="483" y="219"/>
                  </a:cubicBezTo>
                  <a:cubicBezTo>
                    <a:pt x="491" y="182"/>
                    <a:pt x="491" y="182"/>
                    <a:pt x="491" y="182"/>
                  </a:cubicBezTo>
                  <a:lnTo>
                    <a:pt x="518" y="179"/>
                  </a:lnTo>
                  <a:close/>
                  <a:moveTo>
                    <a:pt x="581" y="174"/>
                  </a:moveTo>
                  <a:cubicBezTo>
                    <a:pt x="571" y="213"/>
                    <a:pt x="571" y="213"/>
                    <a:pt x="571" y="213"/>
                  </a:cubicBezTo>
                  <a:cubicBezTo>
                    <a:pt x="543" y="215"/>
                    <a:pt x="543" y="215"/>
                    <a:pt x="543" y="215"/>
                  </a:cubicBezTo>
                  <a:cubicBezTo>
                    <a:pt x="552" y="176"/>
                    <a:pt x="552" y="176"/>
                    <a:pt x="552" y="176"/>
                  </a:cubicBezTo>
                  <a:lnTo>
                    <a:pt x="581" y="174"/>
                  </a:lnTo>
                  <a:close/>
                  <a:moveTo>
                    <a:pt x="643" y="168"/>
                  </a:moveTo>
                  <a:cubicBezTo>
                    <a:pt x="632" y="208"/>
                    <a:pt x="632" y="208"/>
                    <a:pt x="632" y="208"/>
                  </a:cubicBezTo>
                  <a:cubicBezTo>
                    <a:pt x="604" y="210"/>
                    <a:pt x="604" y="210"/>
                    <a:pt x="604" y="210"/>
                  </a:cubicBezTo>
                  <a:cubicBezTo>
                    <a:pt x="614" y="171"/>
                    <a:pt x="614" y="171"/>
                    <a:pt x="614" y="171"/>
                  </a:cubicBezTo>
                  <a:lnTo>
                    <a:pt x="643" y="168"/>
                  </a:lnTo>
                  <a:close/>
                  <a:moveTo>
                    <a:pt x="706" y="162"/>
                  </a:moveTo>
                  <a:cubicBezTo>
                    <a:pt x="693" y="203"/>
                    <a:pt x="693" y="203"/>
                    <a:pt x="693" y="203"/>
                  </a:cubicBezTo>
                  <a:cubicBezTo>
                    <a:pt x="667" y="205"/>
                    <a:pt x="667" y="205"/>
                    <a:pt x="667" y="205"/>
                  </a:cubicBezTo>
                  <a:cubicBezTo>
                    <a:pt x="680" y="165"/>
                    <a:pt x="680" y="165"/>
                    <a:pt x="680" y="165"/>
                  </a:cubicBezTo>
                  <a:lnTo>
                    <a:pt x="706" y="162"/>
                  </a:lnTo>
                  <a:close/>
                  <a:moveTo>
                    <a:pt x="772" y="156"/>
                  </a:moveTo>
                  <a:cubicBezTo>
                    <a:pt x="758" y="198"/>
                    <a:pt x="758" y="198"/>
                    <a:pt x="758" y="198"/>
                  </a:cubicBezTo>
                  <a:cubicBezTo>
                    <a:pt x="728" y="200"/>
                    <a:pt x="728" y="200"/>
                    <a:pt x="728" y="200"/>
                  </a:cubicBezTo>
                  <a:cubicBezTo>
                    <a:pt x="742" y="159"/>
                    <a:pt x="742" y="159"/>
                    <a:pt x="742" y="159"/>
                  </a:cubicBezTo>
                  <a:lnTo>
                    <a:pt x="772" y="156"/>
                  </a:lnTo>
                  <a:close/>
                  <a:moveTo>
                    <a:pt x="141" y="333"/>
                  </a:moveTo>
                  <a:cubicBezTo>
                    <a:pt x="164" y="333"/>
                    <a:pt x="164" y="333"/>
                    <a:pt x="164" y="333"/>
                  </a:cubicBezTo>
                  <a:cubicBezTo>
                    <a:pt x="164" y="334"/>
                    <a:pt x="164" y="334"/>
                    <a:pt x="164" y="334"/>
                  </a:cubicBezTo>
                  <a:cubicBezTo>
                    <a:pt x="166" y="334"/>
                    <a:pt x="166" y="334"/>
                    <a:pt x="166" y="334"/>
                  </a:cubicBezTo>
                  <a:cubicBezTo>
                    <a:pt x="157" y="449"/>
                    <a:pt x="157" y="449"/>
                    <a:pt x="157" y="449"/>
                  </a:cubicBezTo>
                  <a:cubicBezTo>
                    <a:pt x="134" y="448"/>
                    <a:pt x="134" y="448"/>
                    <a:pt x="134" y="448"/>
                  </a:cubicBezTo>
                  <a:lnTo>
                    <a:pt x="141" y="333"/>
                  </a:lnTo>
                  <a:close/>
                  <a:moveTo>
                    <a:pt x="130" y="448"/>
                  </a:moveTo>
                  <a:cubicBezTo>
                    <a:pt x="107" y="446"/>
                    <a:pt x="107" y="446"/>
                    <a:pt x="107" y="446"/>
                  </a:cubicBezTo>
                  <a:cubicBezTo>
                    <a:pt x="112" y="333"/>
                    <a:pt x="112" y="333"/>
                    <a:pt x="112" y="333"/>
                  </a:cubicBezTo>
                  <a:cubicBezTo>
                    <a:pt x="138" y="333"/>
                    <a:pt x="138" y="333"/>
                    <a:pt x="138" y="333"/>
                  </a:cubicBezTo>
                  <a:lnTo>
                    <a:pt x="130" y="448"/>
                  </a:lnTo>
                  <a:close/>
                  <a:moveTo>
                    <a:pt x="169" y="334"/>
                  </a:moveTo>
                  <a:cubicBezTo>
                    <a:pt x="194" y="334"/>
                    <a:pt x="194" y="334"/>
                    <a:pt x="194" y="334"/>
                  </a:cubicBezTo>
                  <a:cubicBezTo>
                    <a:pt x="183" y="451"/>
                    <a:pt x="183" y="451"/>
                    <a:pt x="183" y="451"/>
                  </a:cubicBezTo>
                  <a:cubicBezTo>
                    <a:pt x="160" y="450"/>
                    <a:pt x="160" y="450"/>
                    <a:pt x="160" y="450"/>
                  </a:cubicBezTo>
                  <a:lnTo>
                    <a:pt x="169" y="334"/>
                  </a:lnTo>
                  <a:close/>
                  <a:moveTo>
                    <a:pt x="198" y="334"/>
                  </a:moveTo>
                  <a:cubicBezTo>
                    <a:pt x="223" y="334"/>
                    <a:pt x="223" y="334"/>
                    <a:pt x="223" y="334"/>
                  </a:cubicBezTo>
                  <a:cubicBezTo>
                    <a:pt x="210" y="453"/>
                    <a:pt x="210" y="453"/>
                    <a:pt x="210" y="453"/>
                  </a:cubicBezTo>
                  <a:cubicBezTo>
                    <a:pt x="186" y="451"/>
                    <a:pt x="186" y="451"/>
                    <a:pt x="186" y="451"/>
                  </a:cubicBezTo>
                  <a:lnTo>
                    <a:pt x="198" y="334"/>
                  </a:lnTo>
                  <a:close/>
                  <a:moveTo>
                    <a:pt x="227" y="334"/>
                  </a:moveTo>
                  <a:cubicBezTo>
                    <a:pt x="251" y="334"/>
                    <a:pt x="251" y="334"/>
                    <a:pt x="251" y="334"/>
                  </a:cubicBezTo>
                  <a:cubicBezTo>
                    <a:pt x="235" y="455"/>
                    <a:pt x="235" y="455"/>
                    <a:pt x="235" y="455"/>
                  </a:cubicBezTo>
                  <a:cubicBezTo>
                    <a:pt x="213" y="453"/>
                    <a:pt x="213" y="453"/>
                    <a:pt x="213" y="453"/>
                  </a:cubicBezTo>
                  <a:lnTo>
                    <a:pt x="227" y="334"/>
                  </a:lnTo>
                  <a:close/>
                  <a:moveTo>
                    <a:pt x="254" y="334"/>
                  </a:moveTo>
                  <a:cubicBezTo>
                    <a:pt x="280" y="334"/>
                    <a:pt x="280" y="334"/>
                    <a:pt x="280" y="334"/>
                  </a:cubicBezTo>
                  <a:cubicBezTo>
                    <a:pt x="263" y="456"/>
                    <a:pt x="263" y="456"/>
                    <a:pt x="263" y="456"/>
                  </a:cubicBezTo>
                  <a:cubicBezTo>
                    <a:pt x="239" y="455"/>
                    <a:pt x="239" y="455"/>
                    <a:pt x="239" y="455"/>
                  </a:cubicBezTo>
                  <a:lnTo>
                    <a:pt x="254" y="334"/>
                  </a:lnTo>
                  <a:close/>
                  <a:moveTo>
                    <a:pt x="284" y="334"/>
                  </a:moveTo>
                  <a:cubicBezTo>
                    <a:pt x="310" y="335"/>
                    <a:pt x="310" y="335"/>
                    <a:pt x="310" y="335"/>
                  </a:cubicBezTo>
                  <a:cubicBezTo>
                    <a:pt x="290" y="458"/>
                    <a:pt x="290" y="458"/>
                    <a:pt x="290" y="458"/>
                  </a:cubicBezTo>
                  <a:cubicBezTo>
                    <a:pt x="266" y="457"/>
                    <a:pt x="266" y="457"/>
                    <a:pt x="266" y="457"/>
                  </a:cubicBezTo>
                  <a:lnTo>
                    <a:pt x="284" y="334"/>
                  </a:lnTo>
                  <a:close/>
                  <a:moveTo>
                    <a:pt x="313" y="335"/>
                  </a:moveTo>
                  <a:cubicBezTo>
                    <a:pt x="337" y="335"/>
                    <a:pt x="337" y="335"/>
                    <a:pt x="337" y="335"/>
                  </a:cubicBezTo>
                  <a:cubicBezTo>
                    <a:pt x="316" y="460"/>
                    <a:pt x="316" y="460"/>
                    <a:pt x="316" y="460"/>
                  </a:cubicBezTo>
                  <a:cubicBezTo>
                    <a:pt x="293" y="458"/>
                    <a:pt x="293" y="458"/>
                    <a:pt x="293" y="458"/>
                  </a:cubicBezTo>
                  <a:lnTo>
                    <a:pt x="313" y="335"/>
                  </a:lnTo>
                  <a:close/>
                  <a:moveTo>
                    <a:pt x="341" y="335"/>
                  </a:moveTo>
                  <a:cubicBezTo>
                    <a:pt x="367" y="335"/>
                    <a:pt x="367" y="335"/>
                    <a:pt x="367" y="335"/>
                  </a:cubicBezTo>
                  <a:cubicBezTo>
                    <a:pt x="343" y="462"/>
                    <a:pt x="343" y="462"/>
                    <a:pt x="343" y="462"/>
                  </a:cubicBezTo>
                  <a:cubicBezTo>
                    <a:pt x="319" y="460"/>
                    <a:pt x="319" y="460"/>
                    <a:pt x="319" y="460"/>
                  </a:cubicBezTo>
                  <a:lnTo>
                    <a:pt x="341" y="335"/>
                  </a:lnTo>
                  <a:close/>
                  <a:moveTo>
                    <a:pt x="370" y="335"/>
                  </a:moveTo>
                  <a:cubicBezTo>
                    <a:pt x="395" y="335"/>
                    <a:pt x="395" y="335"/>
                    <a:pt x="395" y="335"/>
                  </a:cubicBezTo>
                  <a:cubicBezTo>
                    <a:pt x="370" y="463"/>
                    <a:pt x="370" y="463"/>
                    <a:pt x="370" y="463"/>
                  </a:cubicBezTo>
                  <a:cubicBezTo>
                    <a:pt x="346" y="462"/>
                    <a:pt x="346" y="462"/>
                    <a:pt x="346" y="462"/>
                  </a:cubicBezTo>
                  <a:lnTo>
                    <a:pt x="370" y="335"/>
                  </a:lnTo>
                  <a:close/>
                  <a:moveTo>
                    <a:pt x="398" y="335"/>
                  </a:moveTo>
                  <a:cubicBezTo>
                    <a:pt x="424" y="335"/>
                    <a:pt x="424" y="335"/>
                    <a:pt x="424" y="335"/>
                  </a:cubicBezTo>
                  <a:cubicBezTo>
                    <a:pt x="396" y="465"/>
                    <a:pt x="396" y="465"/>
                    <a:pt x="396" y="465"/>
                  </a:cubicBezTo>
                  <a:cubicBezTo>
                    <a:pt x="373" y="464"/>
                    <a:pt x="373" y="464"/>
                    <a:pt x="373" y="464"/>
                  </a:cubicBezTo>
                  <a:lnTo>
                    <a:pt x="398" y="335"/>
                  </a:lnTo>
                  <a:close/>
                  <a:moveTo>
                    <a:pt x="427" y="335"/>
                  </a:moveTo>
                  <a:cubicBezTo>
                    <a:pt x="453" y="335"/>
                    <a:pt x="453" y="335"/>
                    <a:pt x="453" y="335"/>
                  </a:cubicBezTo>
                  <a:cubicBezTo>
                    <a:pt x="423" y="467"/>
                    <a:pt x="423" y="467"/>
                    <a:pt x="423" y="467"/>
                  </a:cubicBezTo>
                  <a:cubicBezTo>
                    <a:pt x="399" y="465"/>
                    <a:pt x="399" y="465"/>
                    <a:pt x="399" y="465"/>
                  </a:cubicBezTo>
                  <a:lnTo>
                    <a:pt x="427" y="335"/>
                  </a:lnTo>
                  <a:close/>
                  <a:moveTo>
                    <a:pt x="456" y="335"/>
                  </a:moveTo>
                  <a:cubicBezTo>
                    <a:pt x="482" y="335"/>
                    <a:pt x="482" y="335"/>
                    <a:pt x="482" y="335"/>
                  </a:cubicBezTo>
                  <a:cubicBezTo>
                    <a:pt x="450" y="469"/>
                    <a:pt x="450" y="469"/>
                    <a:pt x="450" y="469"/>
                  </a:cubicBezTo>
                  <a:cubicBezTo>
                    <a:pt x="427" y="467"/>
                    <a:pt x="427" y="467"/>
                    <a:pt x="427" y="467"/>
                  </a:cubicBezTo>
                  <a:lnTo>
                    <a:pt x="456" y="335"/>
                  </a:lnTo>
                  <a:close/>
                  <a:moveTo>
                    <a:pt x="485" y="335"/>
                  </a:moveTo>
                  <a:cubicBezTo>
                    <a:pt x="509" y="335"/>
                    <a:pt x="509" y="335"/>
                    <a:pt x="509" y="335"/>
                  </a:cubicBezTo>
                  <a:cubicBezTo>
                    <a:pt x="476" y="470"/>
                    <a:pt x="476" y="470"/>
                    <a:pt x="476" y="470"/>
                  </a:cubicBezTo>
                  <a:cubicBezTo>
                    <a:pt x="454" y="469"/>
                    <a:pt x="454" y="469"/>
                    <a:pt x="454" y="469"/>
                  </a:cubicBezTo>
                  <a:lnTo>
                    <a:pt x="485" y="335"/>
                  </a:lnTo>
                  <a:close/>
                  <a:moveTo>
                    <a:pt x="663" y="483"/>
                  </a:moveTo>
                  <a:cubicBezTo>
                    <a:pt x="640" y="481"/>
                    <a:pt x="640" y="481"/>
                    <a:pt x="640" y="481"/>
                  </a:cubicBezTo>
                  <a:cubicBezTo>
                    <a:pt x="685" y="336"/>
                    <a:pt x="685" y="336"/>
                    <a:pt x="685" y="336"/>
                  </a:cubicBezTo>
                  <a:cubicBezTo>
                    <a:pt x="712" y="336"/>
                    <a:pt x="712" y="336"/>
                    <a:pt x="712" y="336"/>
                  </a:cubicBezTo>
                  <a:lnTo>
                    <a:pt x="663" y="483"/>
                  </a:lnTo>
                  <a:close/>
                  <a:moveTo>
                    <a:pt x="715" y="336"/>
                  </a:moveTo>
                  <a:cubicBezTo>
                    <a:pt x="732" y="336"/>
                    <a:pt x="732" y="336"/>
                    <a:pt x="732" y="336"/>
                  </a:cubicBezTo>
                  <a:cubicBezTo>
                    <a:pt x="732" y="335"/>
                    <a:pt x="732" y="335"/>
                    <a:pt x="732" y="335"/>
                  </a:cubicBezTo>
                  <a:cubicBezTo>
                    <a:pt x="739" y="335"/>
                    <a:pt x="739" y="335"/>
                    <a:pt x="739" y="335"/>
                  </a:cubicBezTo>
                  <a:cubicBezTo>
                    <a:pt x="715" y="384"/>
                    <a:pt x="690" y="433"/>
                    <a:pt x="669" y="476"/>
                  </a:cubicBezTo>
                  <a:lnTo>
                    <a:pt x="715" y="336"/>
                  </a:lnTo>
                  <a:close/>
                  <a:moveTo>
                    <a:pt x="636" y="481"/>
                  </a:moveTo>
                  <a:cubicBezTo>
                    <a:pt x="613" y="479"/>
                    <a:pt x="613" y="479"/>
                    <a:pt x="613" y="479"/>
                  </a:cubicBezTo>
                  <a:cubicBezTo>
                    <a:pt x="657" y="336"/>
                    <a:pt x="657" y="336"/>
                    <a:pt x="657" y="336"/>
                  </a:cubicBezTo>
                  <a:cubicBezTo>
                    <a:pt x="682" y="336"/>
                    <a:pt x="682" y="336"/>
                    <a:pt x="682" y="336"/>
                  </a:cubicBezTo>
                  <a:lnTo>
                    <a:pt x="636" y="481"/>
                  </a:lnTo>
                  <a:close/>
                  <a:moveTo>
                    <a:pt x="610" y="479"/>
                  </a:moveTo>
                  <a:cubicBezTo>
                    <a:pt x="586" y="478"/>
                    <a:pt x="586" y="478"/>
                    <a:pt x="586" y="478"/>
                  </a:cubicBezTo>
                  <a:cubicBezTo>
                    <a:pt x="628" y="336"/>
                    <a:pt x="628" y="336"/>
                    <a:pt x="628" y="336"/>
                  </a:cubicBezTo>
                  <a:cubicBezTo>
                    <a:pt x="653" y="336"/>
                    <a:pt x="653" y="336"/>
                    <a:pt x="653" y="336"/>
                  </a:cubicBezTo>
                  <a:lnTo>
                    <a:pt x="610" y="479"/>
                  </a:lnTo>
                  <a:close/>
                  <a:moveTo>
                    <a:pt x="582" y="477"/>
                  </a:moveTo>
                  <a:cubicBezTo>
                    <a:pt x="559" y="476"/>
                    <a:pt x="559" y="476"/>
                    <a:pt x="559" y="476"/>
                  </a:cubicBezTo>
                  <a:cubicBezTo>
                    <a:pt x="599" y="336"/>
                    <a:pt x="599" y="336"/>
                    <a:pt x="599" y="336"/>
                  </a:cubicBezTo>
                  <a:cubicBezTo>
                    <a:pt x="625" y="336"/>
                    <a:pt x="625" y="336"/>
                    <a:pt x="625" y="336"/>
                  </a:cubicBezTo>
                  <a:lnTo>
                    <a:pt x="582" y="477"/>
                  </a:lnTo>
                  <a:close/>
                  <a:moveTo>
                    <a:pt x="555" y="476"/>
                  </a:moveTo>
                  <a:cubicBezTo>
                    <a:pt x="532" y="474"/>
                    <a:pt x="532" y="474"/>
                    <a:pt x="532" y="474"/>
                  </a:cubicBezTo>
                  <a:cubicBezTo>
                    <a:pt x="570" y="336"/>
                    <a:pt x="570" y="336"/>
                    <a:pt x="570" y="336"/>
                  </a:cubicBezTo>
                  <a:cubicBezTo>
                    <a:pt x="595" y="336"/>
                    <a:pt x="595" y="336"/>
                    <a:pt x="595" y="336"/>
                  </a:cubicBezTo>
                  <a:lnTo>
                    <a:pt x="555" y="476"/>
                  </a:lnTo>
                  <a:close/>
                  <a:moveTo>
                    <a:pt x="529" y="474"/>
                  </a:moveTo>
                  <a:cubicBezTo>
                    <a:pt x="505" y="472"/>
                    <a:pt x="505" y="472"/>
                    <a:pt x="505" y="472"/>
                  </a:cubicBezTo>
                  <a:cubicBezTo>
                    <a:pt x="542" y="336"/>
                    <a:pt x="542" y="336"/>
                    <a:pt x="542" y="336"/>
                  </a:cubicBezTo>
                  <a:cubicBezTo>
                    <a:pt x="566" y="336"/>
                    <a:pt x="566" y="336"/>
                    <a:pt x="566" y="336"/>
                  </a:cubicBezTo>
                  <a:lnTo>
                    <a:pt x="529" y="474"/>
                  </a:lnTo>
                  <a:close/>
                  <a:moveTo>
                    <a:pt x="502" y="472"/>
                  </a:moveTo>
                  <a:cubicBezTo>
                    <a:pt x="479" y="471"/>
                    <a:pt x="479" y="471"/>
                    <a:pt x="479" y="471"/>
                  </a:cubicBezTo>
                  <a:cubicBezTo>
                    <a:pt x="513" y="335"/>
                    <a:pt x="513" y="335"/>
                    <a:pt x="513" y="335"/>
                  </a:cubicBezTo>
                  <a:cubicBezTo>
                    <a:pt x="538" y="336"/>
                    <a:pt x="538" y="336"/>
                    <a:pt x="538" y="336"/>
                  </a:cubicBezTo>
                  <a:lnTo>
                    <a:pt x="502" y="472"/>
                  </a:lnTo>
                  <a:close/>
                  <a:moveTo>
                    <a:pt x="477" y="477"/>
                  </a:moveTo>
                  <a:cubicBezTo>
                    <a:pt x="500" y="479"/>
                    <a:pt x="500" y="479"/>
                    <a:pt x="500" y="479"/>
                  </a:cubicBezTo>
                  <a:cubicBezTo>
                    <a:pt x="472" y="587"/>
                    <a:pt x="472" y="587"/>
                    <a:pt x="472" y="587"/>
                  </a:cubicBezTo>
                  <a:cubicBezTo>
                    <a:pt x="451" y="585"/>
                    <a:pt x="451" y="585"/>
                    <a:pt x="451" y="585"/>
                  </a:cubicBezTo>
                  <a:lnTo>
                    <a:pt x="477" y="477"/>
                  </a:lnTo>
                  <a:close/>
                  <a:moveTo>
                    <a:pt x="473" y="596"/>
                  </a:moveTo>
                  <a:cubicBezTo>
                    <a:pt x="473" y="594"/>
                    <a:pt x="473" y="594"/>
                    <a:pt x="473" y="594"/>
                  </a:cubicBezTo>
                  <a:cubicBezTo>
                    <a:pt x="496" y="597"/>
                    <a:pt x="496" y="597"/>
                    <a:pt x="496" y="597"/>
                  </a:cubicBezTo>
                  <a:cubicBezTo>
                    <a:pt x="496" y="598"/>
                    <a:pt x="496" y="598"/>
                    <a:pt x="496" y="598"/>
                  </a:cubicBezTo>
                  <a:cubicBezTo>
                    <a:pt x="487" y="597"/>
                    <a:pt x="480" y="597"/>
                    <a:pt x="473" y="596"/>
                  </a:cubicBezTo>
                  <a:close/>
                  <a:moveTo>
                    <a:pt x="475" y="588"/>
                  </a:moveTo>
                  <a:cubicBezTo>
                    <a:pt x="504" y="479"/>
                    <a:pt x="504" y="479"/>
                    <a:pt x="504" y="479"/>
                  </a:cubicBezTo>
                  <a:cubicBezTo>
                    <a:pt x="527" y="480"/>
                    <a:pt x="527" y="480"/>
                    <a:pt x="527" y="480"/>
                  </a:cubicBezTo>
                  <a:cubicBezTo>
                    <a:pt x="498" y="590"/>
                    <a:pt x="498" y="590"/>
                    <a:pt x="498" y="590"/>
                  </a:cubicBezTo>
                  <a:lnTo>
                    <a:pt x="475" y="588"/>
                  </a:lnTo>
                  <a:close/>
                  <a:moveTo>
                    <a:pt x="531" y="481"/>
                  </a:moveTo>
                  <a:cubicBezTo>
                    <a:pt x="553" y="482"/>
                    <a:pt x="553" y="482"/>
                    <a:pt x="553" y="482"/>
                  </a:cubicBezTo>
                  <a:cubicBezTo>
                    <a:pt x="521" y="593"/>
                    <a:pt x="521" y="593"/>
                    <a:pt x="521" y="593"/>
                  </a:cubicBezTo>
                  <a:cubicBezTo>
                    <a:pt x="501" y="591"/>
                    <a:pt x="501" y="591"/>
                    <a:pt x="501" y="591"/>
                  </a:cubicBezTo>
                  <a:lnTo>
                    <a:pt x="531" y="481"/>
                  </a:lnTo>
                  <a:close/>
                  <a:moveTo>
                    <a:pt x="522" y="601"/>
                  </a:moveTo>
                  <a:cubicBezTo>
                    <a:pt x="523" y="600"/>
                    <a:pt x="523" y="600"/>
                    <a:pt x="523" y="600"/>
                  </a:cubicBezTo>
                  <a:cubicBezTo>
                    <a:pt x="545" y="603"/>
                    <a:pt x="545" y="603"/>
                    <a:pt x="545" y="603"/>
                  </a:cubicBezTo>
                  <a:cubicBezTo>
                    <a:pt x="545" y="604"/>
                    <a:pt x="545" y="604"/>
                    <a:pt x="545" y="604"/>
                  </a:cubicBezTo>
                  <a:cubicBezTo>
                    <a:pt x="537" y="603"/>
                    <a:pt x="530" y="602"/>
                    <a:pt x="522" y="601"/>
                  </a:cubicBezTo>
                  <a:close/>
                  <a:moveTo>
                    <a:pt x="525" y="594"/>
                  </a:moveTo>
                  <a:cubicBezTo>
                    <a:pt x="557" y="482"/>
                    <a:pt x="557" y="482"/>
                    <a:pt x="557" y="482"/>
                  </a:cubicBezTo>
                  <a:cubicBezTo>
                    <a:pt x="581" y="484"/>
                    <a:pt x="581" y="484"/>
                    <a:pt x="581" y="484"/>
                  </a:cubicBezTo>
                  <a:cubicBezTo>
                    <a:pt x="547" y="596"/>
                    <a:pt x="547" y="596"/>
                    <a:pt x="547" y="596"/>
                  </a:cubicBezTo>
                  <a:lnTo>
                    <a:pt x="525" y="594"/>
                  </a:lnTo>
                  <a:close/>
                  <a:moveTo>
                    <a:pt x="584" y="484"/>
                  </a:moveTo>
                  <a:cubicBezTo>
                    <a:pt x="608" y="486"/>
                    <a:pt x="608" y="486"/>
                    <a:pt x="608" y="486"/>
                  </a:cubicBezTo>
                  <a:cubicBezTo>
                    <a:pt x="573" y="599"/>
                    <a:pt x="573" y="599"/>
                    <a:pt x="573" y="599"/>
                  </a:cubicBezTo>
                  <a:cubicBezTo>
                    <a:pt x="550" y="597"/>
                    <a:pt x="550" y="597"/>
                    <a:pt x="550" y="597"/>
                  </a:cubicBezTo>
                  <a:lnTo>
                    <a:pt x="584" y="484"/>
                  </a:lnTo>
                  <a:close/>
                  <a:moveTo>
                    <a:pt x="574" y="608"/>
                  </a:moveTo>
                  <a:cubicBezTo>
                    <a:pt x="575" y="606"/>
                    <a:pt x="575" y="606"/>
                    <a:pt x="575" y="606"/>
                  </a:cubicBezTo>
                  <a:cubicBezTo>
                    <a:pt x="596" y="609"/>
                    <a:pt x="596" y="609"/>
                    <a:pt x="596" y="609"/>
                  </a:cubicBezTo>
                  <a:cubicBezTo>
                    <a:pt x="595" y="610"/>
                    <a:pt x="595" y="610"/>
                    <a:pt x="595" y="610"/>
                  </a:cubicBezTo>
                  <a:cubicBezTo>
                    <a:pt x="588" y="609"/>
                    <a:pt x="581" y="608"/>
                    <a:pt x="574" y="608"/>
                  </a:cubicBezTo>
                  <a:close/>
                  <a:moveTo>
                    <a:pt x="577" y="600"/>
                  </a:moveTo>
                  <a:cubicBezTo>
                    <a:pt x="611" y="486"/>
                    <a:pt x="611" y="486"/>
                    <a:pt x="611" y="486"/>
                  </a:cubicBezTo>
                  <a:cubicBezTo>
                    <a:pt x="634" y="487"/>
                    <a:pt x="634" y="487"/>
                    <a:pt x="634" y="487"/>
                  </a:cubicBezTo>
                  <a:cubicBezTo>
                    <a:pt x="598" y="602"/>
                    <a:pt x="598" y="602"/>
                    <a:pt x="598" y="602"/>
                  </a:cubicBezTo>
                  <a:lnTo>
                    <a:pt x="577" y="600"/>
                  </a:lnTo>
                  <a:close/>
                  <a:moveTo>
                    <a:pt x="638" y="488"/>
                  </a:moveTo>
                  <a:cubicBezTo>
                    <a:pt x="661" y="489"/>
                    <a:pt x="661" y="489"/>
                    <a:pt x="661" y="489"/>
                  </a:cubicBezTo>
                  <a:cubicBezTo>
                    <a:pt x="659" y="497"/>
                    <a:pt x="659" y="497"/>
                    <a:pt x="659" y="497"/>
                  </a:cubicBezTo>
                  <a:cubicBezTo>
                    <a:pt x="632" y="552"/>
                    <a:pt x="611" y="593"/>
                    <a:pt x="606" y="603"/>
                  </a:cubicBezTo>
                  <a:cubicBezTo>
                    <a:pt x="601" y="603"/>
                    <a:pt x="601" y="603"/>
                    <a:pt x="601" y="603"/>
                  </a:cubicBezTo>
                  <a:lnTo>
                    <a:pt x="638" y="488"/>
                  </a:lnTo>
                  <a:close/>
                  <a:moveTo>
                    <a:pt x="624" y="587"/>
                  </a:moveTo>
                  <a:cubicBezTo>
                    <a:pt x="628" y="578"/>
                    <a:pt x="633" y="567"/>
                    <a:pt x="640" y="554"/>
                  </a:cubicBezTo>
                  <a:cubicBezTo>
                    <a:pt x="623" y="605"/>
                    <a:pt x="623" y="605"/>
                    <a:pt x="623" y="605"/>
                  </a:cubicBezTo>
                  <a:cubicBezTo>
                    <a:pt x="615" y="604"/>
                    <a:pt x="615" y="604"/>
                    <a:pt x="615" y="604"/>
                  </a:cubicBezTo>
                  <a:cubicBezTo>
                    <a:pt x="617" y="601"/>
                    <a:pt x="620" y="595"/>
                    <a:pt x="624" y="587"/>
                  </a:cubicBezTo>
                  <a:close/>
                  <a:moveTo>
                    <a:pt x="624" y="613"/>
                  </a:moveTo>
                  <a:cubicBezTo>
                    <a:pt x="624" y="612"/>
                    <a:pt x="624" y="612"/>
                    <a:pt x="624" y="612"/>
                  </a:cubicBezTo>
                  <a:cubicBezTo>
                    <a:pt x="645" y="615"/>
                    <a:pt x="645" y="615"/>
                    <a:pt x="645" y="615"/>
                  </a:cubicBezTo>
                  <a:cubicBezTo>
                    <a:pt x="645" y="616"/>
                    <a:pt x="645" y="616"/>
                    <a:pt x="645" y="616"/>
                  </a:cubicBezTo>
                  <a:cubicBezTo>
                    <a:pt x="638" y="615"/>
                    <a:pt x="631" y="614"/>
                    <a:pt x="624" y="613"/>
                  </a:cubicBezTo>
                  <a:close/>
                  <a:moveTo>
                    <a:pt x="626" y="606"/>
                  </a:moveTo>
                  <a:cubicBezTo>
                    <a:pt x="650" y="533"/>
                    <a:pt x="650" y="533"/>
                    <a:pt x="650" y="533"/>
                  </a:cubicBezTo>
                  <a:cubicBezTo>
                    <a:pt x="657" y="520"/>
                    <a:pt x="664" y="505"/>
                    <a:pt x="671" y="490"/>
                  </a:cubicBezTo>
                  <a:cubicBezTo>
                    <a:pt x="688" y="491"/>
                    <a:pt x="688" y="491"/>
                    <a:pt x="688" y="491"/>
                  </a:cubicBezTo>
                  <a:cubicBezTo>
                    <a:pt x="648" y="608"/>
                    <a:pt x="648" y="608"/>
                    <a:pt x="648" y="608"/>
                  </a:cubicBezTo>
                  <a:lnTo>
                    <a:pt x="626" y="606"/>
                  </a:lnTo>
                  <a:close/>
                  <a:moveTo>
                    <a:pt x="675" y="483"/>
                  </a:moveTo>
                  <a:cubicBezTo>
                    <a:pt x="690" y="452"/>
                    <a:pt x="708" y="416"/>
                    <a:pt x="726" y="380"/>
                  </a:cubicBezTo>
                  <a:cubicBezTo>
                    <a:pt x="690" y="484"/>
                    <a:pt x="690" y="484"/>
                    <a:pt x="690" y="484"/>
                  </a:cubicBezTo>
                  <a:lnTo>
                    <a:pt x="675" y="483"/>
                  </a:lnTo>
                  <a:close/>
                  <a:moveTo>
                    <a:pt x="737" y="357"/>
                  </a:moveTo>
                  <a:cubicBezTo>
                    <a:pt x="741" y="349"/>
                    <a:pt x="744" y="342"/>
                    <a:pt x="748" y="335"/>
                  </a:cubicBezTo>
                  <a:cubicBezTo>
                    <a:pt x="768" y="335"/>
                    <a:pt x="768" y="335"/>
                    <a:pt x="768" y="335"/>
                  </a:cubicBezTo>
                  <a:cubicBezTo>
                    <a:pt x="714" y="486"/>
                    <a:pt x="714" y="486"/>
                    <a:pt x="714" y="486"/>
                  </a:cubicBezTo>
                  <a:cubicBezTo>
                    <a:pt x="693" y="485"/>
                    <a:pt x="693" y="485"/>
                    <a:pt x="693" y="485"/>
                  </a:cubicBezTo>
                  <a:lnTo>
                    <a:pt x="737" y="357"/>
                  </a:lnTo>
                  <a:close/>
                  <a:moveTo>
                    <a:pt x="751" y="328"/>
                  </a:moveTo>
                  <a:cubicBezTo>
                    <a:pt x="757" y="317"/>
                    <a:pt x="762" y="306"/>
                    <a:pt x="767" y="295"/>
                  </a:cubicBezTo>
                  <a:cubicBezTo>
                    <a:pt x="784" y="262"/>
                    <a:pt x="800" y="229"/>
                    <a:pt x="814" y="200"/>
                  </a:cubicBezTo>
                  <a:cubicBezTo>
                    <a:pt x="816" y="200"/>
                    <a:pt x="816" y="200"/>
                    <a:pt x="816" y="200"/>
                  </a:cubicBezTo>
                  <a:cubicBezTo>
                    <a:pt x="770" y="328"/>
                    <a:pt x="770" y="328"/>
                    <a:pt x="770" y="328"/>
                  </a:cubicBezTo>
                  <a:lnTo>
                    <a:pt x="751" y="328"/>
                  </a:lnTo>
                  <a:close/>
                  <a:moveTo>
                    <a:pt x="817" y="194"/>
                  </a:moveTo>
                  <a:cubicBezTo>
                    <a:pt x="818" y="192"/>
                    <a:pt x="819" y="190"/>
                    <a:pt x="820" y="188"/>
                  </a:cubicBezTo>
                  <a:cubicBezTo>
                    <a:pt x="818" y="194"/>
                    <a:pt x="818" y="194"/>
                    <a:pt x="818" y="194"/>
                  </a:cubicBezTo>
                  <a:lnTo>
                    <a:pt x="817" y="194"/>
                  </a:lnTo>
                  <a:close/>
                  <a:moveTo>
                    <a:pt x="814" y="152"/>
                  </a:moveTo>
                  <a:cubicBezTo>
                    <a:pt x="814" y="151"/>
                    <a:pt x="814" y="151"/>
                    <a:pt x="814" y="151"/>
                  </a:cubicBezTo>
                  <a:cubicBezTo>
                    <a:pt x="830" y="149"/>
                    <a:pt x="830" y="149"/>
                    <a:pt x="830" y="149"/>
                  </a:cubicBezTo>
                  <a:cubicBezTo>
                    <a:pt x="823" y="163"/>
                    <a:pt x="816" y="178"/>
                    <a:pt x="808" y="194"/>
                  </a:cubicBezTo>
                  <a:cubicBezTo>
                    <a:pt x="792" y="196"/>
                    <a:pt x="792" y="196"/>
                    <a:pt x="792" y="196"/>
                  </a:cubicBezTo>
                  <a:cubicBezTo>
                    <a:pt x="807" y="153"/>
                    <a:pt x="807" y="153"/>
                    <a:pt x="807" y="153"/>
                  </a:cubicBezTo>
                  <a:lnTo>
                    <a:pt x="814" y="152"/>
                  </a:lnTo>
                  <a:close/>
                  <a:moveTo>
                    <a:pt x="804" y="201"/>
                  </a:moveTo>
                  <a:cubicBezTo>
                    <a:pt x="790" y="230"/>
                    <a:pt x="774" y="263"/>
                    <a:pt x="758" y="296"/>
                  </a:cubicBezTo>
                  <a:cubicBezTo>
                    <a:pt x="790" y="202"/>
                    <a:pt x="790" y="202"/>
                    <a:pt x="790" y="202"/>
                  </a:cubicBezTo>
                  <a:lnTo>
                    <a:pt x="804" y="201"/>
                  </a:lnTo>
                  <a:close/>
                  <a:moveTo>
                    <a:pt x="747" y="319"/>
                  </a:moveTo>
                  <a:cubicBezTo>
                    <a:pt x="745" y="322"/>
                    <a:pt x="743" y="325"/>
                    <a:pt x="742" y="328"/>
                  </a:cubicBezTo>
                  <a:cubicBezTo>
                    <a:pt x="732" y="328"/>
                    <a:pt x="732" y="328"/>
                    <a:pt x="732" y="328"/>
                  </a:cubicBezTo>
                  <a:cubicBezTo>
                    <a:pt x="732" y="327"/>
                    <a:pt x="732" y="327"/>
                    <a:pt x="732" y="327"/>
                  </a:cubicBezTo>
                  <a:cubicBezTo>
                    <a:pt x="719" y="326"/>
                    <a:pt x="719" y="326"/>
                    <a:pt x="719" y="326"/>
                  </a:cubicBezTo>
                  <a:cubicBezTo>
                    <a:pt x="759" y="205"/>
                    <a:pt x="759" y="205"/>
                    <a:pt x="759" y="205"/>
                  </a:cubicBezTo>
                  <a:cubicBezTo>
                    <a:pt x="786" y="203"/>
                    <a:pt x="786" y="203"/>
                    <a:pt x="786" y="203"/>
                  </a:cubicBezTo>
                  <a:lnTo>
                    <a:pt x="747" y="319"/>
                  </a:lnTo>
                  <a:close/>
                  <a:moveTo>
                    <a:pt x="755" y="205"/>
                  </a:moveTo>
                  <a:cubicBezTo>
                    <a:pt x="715" y="326"/>
                    <a:pt x="715" y="326"/>
                    <a:pt x="715" y="326"/>
                  </a:cubicBezTo>
                  <a:cubicBezTo>
                    <a:pt x="689" y="326"/>
                    <a:pt x="689" y="326"/>
                    <a:pt x="689" y="326"/>
                  </a:cubicBezTo>
                  <a:cubicBezTo>
                    <a:pt x="726" y="207"/>
                    <a:pt x="726" y="207"/>
                    <a:pt x="726" y="207"/>
                  </a:cubicBezTo>
                  <a:lnTo>
                    <a:pt x="755" y="205"/>
                  </a:lnTo>
                  <a:close/>
                  <a:moveTo>
                    <a:pt x="685" y="326"/>
                  </a:moveTo>
                  <a:cubicBezTo>
                    <a:pt x="660" y="326"/>
                    <a:pt x="660" y="326"/>
                    <a:pt x="660" y="326"/>
                  </a:cubicBezTo>
                  <a:cubicBezTo>
                    <a:pt x="695" y="210"/>
                    <a:pt x="695" y="210"/>
                    <a:pt x="695" y="210"/>
                  </a:cubicBezTo>
                  <a:cubicBezTo>
                    <a:pt x="723" y="208"/>
                    <a:pt x="723" y="208"/>
                    <a:pt x="723" y="208"/>
                  </a:cubicBezTo>
                  <a:lnTo>
                    <a:pt x="685" y="326"/>
                  </a:lnTo>
                  <a:close/>
                  <a:moveTo>
                    <a:pt x="691" y="210"/>
                  </a:moveTo>
                  <a:cubicBezTo>
                    <a:pt x="656" y="326"/>
                    <a:pt x="656" y="326"/>
                    <a:pt x="656" y="326"/>
                  </a:cubicBezTo>
                  <a:cubicBezTo>
                    <a:pt x="631" y="326"/>
                    <a:pt x="631" y="326"/>
                    <a:pt x="631" y="326"/>
                  </a:cubicBezTo>
                  <a:cubicBezTo>
                    <a:pt x="665" y="212"/>
                    <a:pt x="665" y="212"/>
                    <a:pt x="665" y="212"/>
                  </a:cubicBezTo>
                  <a:lnTo>
                    <a:pt x="691" y="210"/>
                  </a:lnTo>
                  <a:close/>
                  <a:moveTo>
                    <a:pt x="628" y="326"/>
                  </a:moveTo>
                  <a:cubicBezTo>
                    <a:pt x="601" y="326"/>
                    <a:pt x="601" y="326"/>
                    <a:pt x="601" y="326"/>
                  </a:cubicBezTo>
                  <a:cubicBezTo>
                    <a:pt x="633" y="214"/>
                    <a:pt x="633" y="214"/>
                    <a:pt x="633" y="214"/>
                  </a:cubicBezTo>
                  <a:cubicBezTo>
                    <a:pt x="662" y="212"/>
                    <a:pt x="662" y="212"/>
                    <a:pt x="662" y="212"/>
                  </a:cubicBezTo>
                  <a:lnTo>
                    <a:pt x="628" y="326"/>
                  </a:lnTo>
                  <a:close/>
                  <a:moveTo>
                    <a:pt x="630" y="215"/>
                  </a:moveTo>
                  <a:cubicBezTo>
                    <a:pt x="598" y="326"/>
                    <a:pt x="598" y="326"/>
                    <a:pt x="598" y="326"/>
                  </a:cubicBezTo>
                  <a:cubicBezTo>
                    <a:pt x="572" y="326"/>
                    <a:pt x="572" y="326"/>
                    <a:pt x="572" y="326"/>
                  </a:cubicBezTo>
                  <a:cubicBezTo>
                    <a:pt x="602" y="217"/>
                    <a:pt x="602" y="217"/>
                    <a:pt x="602" y="217"/>
                  </a:cubicBezTo>
                  <a:lnTo>
                    <a:pt x="630" y="215"/>
                  </a:lnTo>
                  <a:close/>
                  <a:moveTo>
                    <a:pt x="569" y="326"/>
                  </a:moveTo>
                  <a:cubicBezTo>
                    <a:pt x="544" y="326"/>
                    <a:pt x="544" y="326"/>
                    <a:pt x="544" y="326"/>
                  </a:cubicBezTo>
                  <a:cubicBezTo>
                    <a:pt x="573" y="219"/>
                    <a:pt x="573" y="219"/>
                    <a:pt x="573" y="219"/>
                  </a:cubicBezTo>
                  <a:cubicBezTo>
                    <a:pt x="598" y="217"/>
                    <a:pt x="598" y="217"/>
                    <a:pt x="598" y="217"/>
                  </a:cubicBezTo>
                  <a:lnTo>
                    <a:pt x="569" y="326"/>
                  </a:lnTo>
                  <a:close/>
                  <a:moveTo>
                    <a:pt x="569" y="219"/>
                  </a:moveTo>
                  <a:cubicBezTo>
                    <a:pt x="541" y="326"/>
                    <a:pt x="541" y="326"/>
                    <a:pt x="541" y="326"/>
                  </a:cubicBezTo>
                  <a:cubicBezTo>
                    <a:pt x="515" y="326"/>
                    <a:pt x="515" y="326"/>
                    <a:pt x="515" y="326"/>
                  </a:cubicBezTo>
                  <a:cubicBezTo>
                    <a:pt x="541" y="222"/>
                    <a:pt x="541" y="222"/>
                    <a:pt x="541" y="222"/>
                  </a:cubicBezTo>
                  <a:lnTo>
                    <a:pt x="569" y="219"/>
                  </a:lnTo>
                  <a:close/>
                  <a:moveTo>
                    <a:pt x="512" y="326"/>
                  </a:moveTo>
                  <a:cubicBezTo>
                    <a:pt x="487" y="325"/>
                    <a:pt x="487" y="325"/>
                    <a:pt x="487" y="325"/>
                  </a:cubicBezTo>
                  <a:cubicBezTo>
                    <a:pt x="511" y="224"/>
                    <a:pt x="511" y="224"/>
                    <a:pt x="511" y="224"/>
                  </a:cubicBezTo>
                  <a:cubicBezTo>
                    <a:pt x="537" y="222"/>
                    <a:pt x="537" y="222"/>
                    <a:pt x="537" y="222"/>
                  </a:cubicBezTo>
                  <a:lnTo>
                    <a:pt x="512" y="326"/>
                  </a:lnTo>
                  <a:close/>
                  <a:moveTo>
                    <a:pt x="508" y="224"/>
                  </a:moveTo>
                  <a:cubicBezTo>
                    <a:pt x="484" y="325"/>
                    <a:pt x="484" y="325"/>
                    <a:pt x="484" y="325"/>
                  </a:cubicBezTo>
                  <a:cubicBezTo>
                    <a:pt x="459" y="325"/>
                    <a:pt x="459" y="325"/>
                    <a:pt x="459" y="325"/>
                  </a:cubicBezTo>
                  <a:cubicBezTo>
                    <a:pt x="481" y="226"/>
                    <a:pt x="481" y="226"/>
                    <a:pt x="481" y="226"/>
                  </a:cubicBezTo>
                  <a:lnTo>
                    <a:pt x="508" y="224"/>
                  </a:lnTo>
                  <a:close/>
                  <a:moveTo>
                    <a:pt x="455" y="325"/>
                  </a:moveTo>
                  <a:cubicBezTo>
                    <a:pt x="429" y="325"/>
                    <a:pt x="429" y="325"/>
                    <a:pt x="429" y="325"/>
                  </a:cubicBezTo>
                  <a:cubicBezTo>
                    <a:pt x="450" y="229"/>
                    <a:pt x="450" y="229"/>
                    <a:pt x="450" y="229"/>
                  </a:cubicBezTo>
                  <a:cubicBezTo>
                    <a:pt x="478" y="226"/>
                    <a:pt x="478" y="226"/>
                    <a:pt x="478" y="226"/>
                  </a:cubicBezTo>
                  <a:lnTo>
                    <a:pt x="455" y="325"/>
                  </a:lnTo>
                  <a:close/>
                  <a:moveTo>
                    <a:pt x="446" y="229"/>
                  </a:moveTo>
                  <a:cubicBezTo>
                    <a:pt x="426" y="325"/>
                    <a:pt x="426" y="325"/>
                    <a:pt x="426" y="325"/>
                  </a:cubicBezTo>
                  <a:cubicBezTo>
                    <a:pt x="400" y="325"/>
                    <a:pt x="400" y="325"/>
                    <a:pt x="400" y="325"/>
                  </a:cubicBezTo>
                  <a:cubicBezTo>
                    <a:pt x="419" y="231"/>
                    <a:pt x="419" y="231"/>
                    <a:pt x="419" y="231"/>
                  </a:cubicBezTo>
                  <a:lnTo>
                    <a:pt x="446" y="229"/>
                  </a:lnTo>
                  <a:close/>
                  <a:moveTo>
                    <a:pt x="397" y="325"/>
                  </a:moveTo>
                  <a:cubicBezTo>
                    <a:pt x="372" y="325"/>
                    <a:pt x="372" y="325"/>
                    <a:pt x="372" y="325"/>
                  </a:cubicBezTo>
                  <a:cubicBezTo>
                    <a:pt x="389" y="233"/>
                    <a:pt x="389" y="233"/>
                    <a:pt x="389" y="233"/>
                  </a:cubicBezTo>
                  <a:cubicBezTo>
                    <a:pt x="415" y="231"/>
                    <a:pt x="415" y="231"/>
                    <a:pt x="415" y="231"/>
                  </a:cubicBezTo>
                  <a:lnTo>
                    <a:pt x="397" y="325"/>
                  </a:lnTo>
                  <a:close/>
                  <a:moveTo>
                    <a:pt x="386" y="233"/>
                  </a:moveTo>
                  <a:cubicBezTo>
                    <a:pt x="368" y="325"/>
                    <a:pt x="368" y="325"/>
                    <a:pt x="368" y="325"/>
                  </a:cubicBezTo>
                  <a:cubicBezTo>
                    <a:pt x="342" y="325"/>
                    <a:pt x="342" y="325"/>
                    <a:pt x="342" y="325"/>
                  </a:cubicBezTo>
                  <a:cubicBezTo>
                    <a:pt x="358" y="236"/>
                    <a:pt x="358" y="236"/>
                    <a:pt x="358" y="236"/>
                  </a:cubicBezTo>
                  <a:lnTo>
                    <a:pt x="386" y="233"/>
                  </a:lnTo>
                  <a:close/>
                  <a:moveTo>
                    <a:pt x="339" y="325"/>
                  </a:moveTo>
                  <a:cubicBezTo>
                    <a:pt x="314" y="325"/>
                    <a:pt x="314" y="325"/>
                    <a:pt x="314" y="325"/>
                  </a:cubicBezTo>
                  <a:cubicBezTo>
                    <a:pt x="328" y="238"/>
                    <a:pt x="328" y="238"/>
                    <a:pt x="328" y="238"/>
                  </a:cubicBezTo>
                  <a:cubicBezTo>
                    <a:pt x="354" y="236"/>
                    <a:pt x="354" y="236"/>
                    <a:pt x="354" y="236"/>
                  </a:cubicBezTo>
                  <a:lnTo>
                    <a:pt x="339" y="325"/>
                  </a:lnTo>
                  <a:close/>
                  <a:moveTo>
                    <a:pt x="325" y="238"/>
                  </a:moveTo>
                  <a:cubicBezTo>
                    <a:pt x="311" y="325"/>
                    <a:pt x="311" y="325"/>
                    <a:pt x="311" y="325"/>
                  </a:cubicBezTo>
                  <a:cubicBezTo>
                    <a:pt x="285" y="325"/>
                    <a:pt x="285" y="325"/>
                    <a:pt x="285" y="325"/>
                  </a:cubicBezTo>
                  <a:cubicBezTo>
                    <a:pt x="297" y="240"/>
                    <a:pt x="297" y="240"/>
                    <a:pt x="297" y="240"/>
                  </a:cubicBezTo>
                  <a:lnTo>
                    <a:pt x="325" y="238"/>
                  </a:lnTo>
                  <a:close/>
                  <a:moveTo>
                    <a:pt x="282" y="325"/>
                  </a:moveTo>
                  <a:cubicBezTo>
                    <a:pt x="255" y="324"/>
                    <a:pt x="255" y="324"/>
                    <a:pt x="255" y="324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94" y="241"/>
                    <a:pt x="294" y="241"/>
                    <a:pt x="294" y="241"/>
                  </a:cubicBezTo>
                  <a:lnTo>
                    <a:pt x="282" y="325"/>
                  </a:lnTo>
                  <a:close/>
                  <a:moveTo>
                    <a:pt x="262" y="243"/>
                  </a:moveTo>
                  <a:cubicBezTo>
                    <a:pt x="252" y="324"/>
                    <a:pt x="252" y="324"/>
                    <a:pt x="252" y="324"/>
                  </a:cubicBezTo>
                  <a:cubicBezTo>
                    <a:pt x="228" y="324"/>
                    <a:pt x="228" y="324"/>
                    <a:pt x="228" y="324"/>
                  </a:cubicBezTo>
                  <a:cubicBezTo>
                    <a:pt x="237" y="245"/>
                    <a:pt x="237" y="245"/>
                    <a:pt x="237" y="245"/>
                  </a:cubicBezTo>
                  <a:lnTo>
                    <a:pt x="262" y="243"/>
                  </a:lnTo>
                  <a:close/>
                  <a:moveTo>
                    <a:pt x="224" y="324"/>
                  </a:moveTo>
                  <a:cubicBezTo>
                    <a:pt x="199" y="324"/>
                    <a:pt x="199" y="324"/>
                    <a:pt x="199" y="324"/>
                  </a:cubicBezTo>
                  <a:cubicBezTo>
                    <a:pt x="206" y="247"/>
                    <a:pt x="206" y="247"/>
                    <a:pt x="206" y="247"/>
                  </a:cubicBezTo>
                  <a:cubicBezTo>
                    <a:pt x="234" y="245"/>
                    <a:pt x="234" y="245"/>
                    <a:pt x="234" y="245"/>
                  </a:cubicBezTo>
                  <a:lnTo>
                    <a:pt x="224" y="324"/>
                  </a:lnTo>
                  <a:close/>
                  <a:moveTo>
                    <a:pt x="203" y="248"/>
                  </a:moveTo>
                  <a:cubicBezTo>
                    <a:pt x="195" y="324"/>
                    <a:pt x="195" y="324"/>
                    <a:pt x="195" y="324"/>
                  </a:cubicBezTo>
                  <a:cubicBezTo>
                    <a:pt x="170" y="324"/>
                    <a:pt x="170" y="324"/>
                    <a:pt x="170" y="324"/>
                  </a:cubicBezTo>
                  <a:cubicBezTo>
                    <a:pt x="176" y="250"/>
                    <a:pt x="176" y="250"/>
                    <a:pt x="176" y="250"/>
                  </a:cubicBezTo>
                  <a:lnTo>
                    <a:pt x="203" y="248"/>
                  </a:lnTo>
                  <a:close/>
                  <a:moveTo>
                    <a:pt x="167" y="324"/>
                  </a:moveTo>
                  <a:cubicBezTo>
                    <a:pt x="164" y="324"/>
                    <a:pt x="164" y="324"/>
                    <a:pt x="164" y="324"/>
                  </a:cubicBezTo>
                  <a:cubicBezTo>
                    <a:pt x="164" y="327"/>
                    <a:pt x="164" y="327"/>
                    <a:pt x="164" y="327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46" y="252"/>
                    <a:pt x="146" y="252"/>
                    <a:pt x="146" y="252"/>
                  </a:cubicBezTo>
                  <a:cubicBezTo>
                    <a:pt x="173" y="250"/>
                    <a:pt x="173" y="250"/>
                    <a:pt x="173" y="250"/>
                  </a:cubicBezTo>
                  <a:lnTo>
                    <a:pt x="167" y="324"/>
                  </a:lnTo>
                  <a:close/>
                  <a:moveTo>
                    <a:pt x="145" y="212"/>
                  </a:moveTo>
                  <a:cubicBezTo>
                    <a:pt x="143" y="246"/>
                    <a:pt x="143" y="246"/>
                    <a:pt x="143" y="246"/>
                  </a:cubicBezTo>
                  <a:cubicBezTo>
                    <a:pt x="116" y="248"/>
                    <a:pt x="116" y="248"/>
                    <a:pt x="116" y="248"/>
                  </a:cubicBezTo>
                  <a:cubicBezTo>
                    <a:pt x="118" y="214"/>
                    <a:pt x="118" y="214"/>
                    <a:pt x="118" y="214"/>
                  </a:cubicBezTo>
                  <a:lnTo>
                    <a:pt x="145" y="212"/>
                  </a:lnTo>
                  <a:close/>
                  <a:moveTo>
                    <a:pt x="143" y="252"/>
                  </a:moveTo>
                  <a:cubicBezTo>
                    <a:pt x="138" y="327"/>
                    <a:pt x="138" y="327"/>
                    <a:pt x="138" y="327"/>
                  </a:cubicBezTo>
                  <a:cubicBezTo>
                    <a:pt x="113" y="326"/>
                    <a:pt x="113" y="326"/>
                    <a:pt x="113" y="326"/>
                  </a:cubicBezTo>
                  <a:cubicBezTo>
                    <a:pt x="116" y="254"/>
                    <a:pt x="116" y="254"/>
                    <a:pt x="116" y="254"/>
                  </a:cubicBezTo>
                  <a:lnTo>
                    <a:pt x="143" y="252"/>
                  </a:lnTo>
                  <a:close/>
                  <a:moveTo>
                    <a:pt x="109" y="326"/>
                  </a:moveTo>
                  <a:cubicBezTo>
                    <a:pt x="85" y="326"/>
                    <a:pt x="85" y="326"/>
                    <a:pt x="85" y="32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113" y="254"/>
                    <a:pt x="113" y="254"/>
                    <a:pt x="113" y="254"/>
                  </a:cubicBezTo>
                  <a:lnTo>
                    <a:pt x="109" y="326"/>
                  </a:lnTo>
                  <a:close/>
                  <a:moveTo>
                    <a:pt x="109" y="333"/>
                  </a:moveTo>
                  <a:cubicBezTo>
                    <a:pt x="103" y="446"/>
                    <a:pt x="103" y="446"/>
                    <a:pt x="103" y="446"/>
                  </a:cubicBezTo>
                  <a:cubicBezTo>
                    <a:pt x="81" y="444"/>
                    <a:pt x="81" y="444"/>
                    <a:pt x="81" y="444"/>
                  </a:cubicBezTo>
                  <a:cubicBezTo>
                    <a:pt x="85" y="333"/>
                    <a:pt x="85" y="333"/>
                    <a:pt x="85" y="333"/>
                  </a:cubicBezTo>
                  <a:lnTo>
                    <a:pt x="109" y="333"/>
                  </a:lnTo>
                  <a:close/>
                  <a:moveTo>
                    <a:pt x="82" y="326"/>
                  </a:moveTo>
                  <a:cubicBezTo>
                    <a:pt x="53" y="326"/>
                    <a:pt x="53" y="326"/>
                    <a:pt x="53" y="326"/>
                  </a:cubicBezTo>
                  <a:cubicBezTo>
                    <a:pt x="53" y="259"/>
                    <a:pt x="53" y="259"/>
                    <a:pt x="53" y="259"/>
                  </a:cubicBezTo>
                  <a:cubicBezTo>
                    <a:pt x="84" y="257"/>
                    <a:pt x="84" y="257"/>
                    <a:pt x="84" y="257"/>
                  </a:cubicBezTo>
                  <a:lnTo>
                    <a:pt x="82" y="326"/>
                  </a:lnTo>
                  <a:close/>
                  <a:moveTo>
                    <a:pt x="54" y="443"/>
                  </a:moveTo>
                  <a:cubicBezTo>
                    <a:pt x="53" y="333"/>
                    <a:pt x="53" y="333"/>
                    <a:pt x="53" y="333"/>
                  </a:cubicBezTo>
                  <a:cubicBezTo>
                    <a:pt x="82" y="333"/>
                    <a:pt x="82" y="333"/>
                    <a:pt x="82" y="333"/>
                  </a:cubicBezTo>
                  <a:cubicBezTo>
                    <a:pt x="78" y="444"/>
                    <a:pt x="78" y="444"/>
                    <a:pt x="78" y="444"/>
                  </a:cubicBezTo>
                  <a:lnTo>
                    <a:pt x="54" y="443"/>
                  </a:lnTo>
                  <a:close/>
                  <a:moveTo>
                    <a:pt x="78" y="451"/>
                  </a:moveTo>
                  <a:cubicBezTo>
                    <a:pt x="75" y="540"/>
                    <a:pt x="75" y="540"/>
                    <a:pt x="75" y="540"/>
                  </a:cubicBezTo>
                  <a:cubicBezTo>
                    <a:pt x="55" y="537"/>
                    <a:pt x="55" y="537"/>
                    <a:pt x="55" y="537"/>
                  </a:cubicBezTo>
                  <a:cubicBezTo>
                    <a:pt x="54" y="449"/>
                    <a:pt x="54" y="449"/>
                    <a:pt x="54" y="449"/>
                  </a:cubicBezTo>
                  <a:lnTo>
                    <a:pt x="78" y="451"/>
                  </a:lnTo>
                  <a:close/>
                  <a:moveTo>
                    <a:pt x="81" y="451"/>
                  </a:moveTo>
                  <a:cubicBezTo>
                    <a:pt x="103" y="452"/>
                    <a:pt x="103" y="452"/>
                    <a:pt x="103" y="452"/>
                  </a:cubicBezTo>
                  <a:cubicBezTo>
                    <a:pt x="99" y="542"/>
                    <a:pt x="99" y="542"/>
                    <a:pt x="99" y="542"/>
                  </a:cubicBezTo>
                  <a:cubicBezTo>
                    <a:pt x="78" y="540"/>
                    <a:pt x="78" y="540"/>
                    <a:pt x="78" y="540"/>
                  </a:cubicBezTo>
                  <a:lnTo>
                    <a:pt x="81" y="451"/>
                  </a:lnTo>
                  <a:close/>
                  <a:moveTo>
                    <a:pt x="106" y="453"/>
                  </a:moveTo>
                  <a:cubicBezTo>
                    <a:pt x="130" y="454"/>
                    <a:pt x="130" y="454"/>
                    <a:pt x="130" y="454"/>
                  </a:cubicBezTo>
                  <a:cubicBezTo>
                    <a:pt x="124" y="546"/>
                    <a:pt x="124" y="546"/>
                    <a:pt x="124" y="546"/>
                  </a:cubicBezTo>
                  <a:cubicBezTo>
                    <a:pt x="102" y="543"/>
                    <a:pt x="102" y="543"/>
                    <a:pt x="102" y="543"/>
                  </a:cubicBezTo>
                  <a:lnTo>
                    <a:pt x="106" y="453"/>
                  </a:lnTo>
                  <a:close/>
                  <a:moveTo>
                    <a:pt x="133" y="454"/>
                  </a:moveTo>
                  <a:cubicBezTo>
                    <a:pt x="156" y="456"/>
                    <a:pt x="156" y="456"/>
                    <a:pt x="156" y="456"/>
                  </a:cubicBezTo>
                  <a:cubicBezTo>
                    <a:pt x="149" y="548"/>
                    <a:pt x="149" y="548"/>
                    <a:pt x="149" y="548"/>
                  </a:cubicBezTo>
                  <a:cubicBezTo>
                    <a:pt x="128" y="546"/>
                    <a:pt x="128" y="546"/>
                    <a:pt x="128" y="546"/>
                  </a:cubicBezTo>
                  <a:lnTo>
                    <a:pt x="133" y="454"/>
                  </a:lnTo>
                  <a:close/>
                  <a:moveTo>
                    <a:pt x="160" y="456"/>
                  </a:moveTo>
                  <a:cubicBezTo>
                    <a:pt x="182" y="458"/>
                    <a:pt x="182" y="458"/>
                    <a:pt x="182" y="458"/>
                  </a:cubicBezTo>
                  <a:cubicBezTo>
                    <a:pt x="173" y="551"/>
                    <a:pt x="173" y="551"/>
                    <a:pt x="173" y="551"/>
                  </a:cubicBezTo>
                  <a:cubicBezTo>
                    <a:pt x="152" y="549"/>
                    <a:pt x="152" y="549"/>
                    <a:pt x="152" y="549"/>
                  </a:cubicBezTo>
                  <a:lnTo>
                    <a:pt x="160" y="456"/>
                  </a:lnTo>
                  <a:close/>
                  <a:moveTo>
                    <a:pt x="212" y="460"/>
                  </a:moveTo>
                  <a:cubicBezTo>
                    <a:pt x="235" y="461"/>
                    <a:pt x="235" y="461"/>
                    <a:pt x="235" y="461"/>
                  </a:cubicBezTo>
                  <a:cubicBezTo>
                    <a:pt x="222" y="557"/>
                    <a:pt x="222" y="557"/>
                    <a:pt x="222" y="557"/>
                  </a:cubicBezTo>
                  <a:cubicBezTo>
                    <a:pt x="201" y="555"/>
                    <a:pt x="201" y="555"/>
                    <a:pt x="201" y="555"/>
                  </a:cubicBezTo>
                  <a:lnTo>
                    <a:pt x="212" y="460"/>
                  </a:lnTo>
                  <a:close/>
                  <a:moveTo>
                    <a:pt x="238" y="461"/>
                  </a:moveTo>
                  <a:cubicBezTo>
                    <a:pt x="262" y="463"/>
                    <a:pt x="262" y="463"/>
                    <a:pt x="262" y="463"/>
                  </a:cubicBezTo>
                  <a:cubicBezTo>
                    <a:pt x="248" y="560"/>
                    <a:pt x="248" y="560"/>
                    <a:pt x="248" y="560"/>
                  </a:cubicBezTo>
                  <a:cubicBezTo>
                    <a:pt x="226" y="558"/>
                    <a:pt x="226" y="558"/>
                    <a:pt x="226" y="558"/>
                  </a:cubicBezTo>
                  <a:lnTo>
                    <a:pt x="238" y="461"/>
                  </a:lnTo>
                  <a:close/>
                  <a:moveTo>
                    <a:pt x="265" y="463"/>
                  </a:moveTo>
                  <a:cubicBezTo>
                    <a:pt x="289" y="465"/>
                    <a:pt x="289" y="465"/>
                    <a:pt x="289" y="465"/>
                  </a:cubicBezTo>
                  <a:cubicBezTo>
                    <a:pt x="274" y="563"/>
                    <a:pt x="274" y="563"/>
                    <a:pt x="274" y="563"/>
                  </a:cubicBezTo>
                  <a:cubicBezTo>
                    <a:pt x="251" y="561"/>
                    <a:pt x="251" y="561"/>
                    <a:pt x="251" y="561"/>
                  </a:cubicBezTo>
                  <a:lnTo>
                    <a:pt x="265" y="463"/>
                  </a:lnTo>
                  <a:close/>
                  <a:moveTo>
                    <a:pt x="292" y="465"/>
                  </a:moveTo>
                  <a:cubicBezTo>
                    <a:pt x="314" y="466"/>
                    <a:pt x="314" y="466"/>
                    <a:pt x="314" y="466"/>
                  </a:cubicBezTo>
                  <a:cubicBezTo>
                    <a:pt x="297" y="566"/>
                    <a:pt x="297" y="566"/>
                    <a:pt x="297" y="566"/>
                  </a:cubicBezTo>
                  <a:cubicBezTo>
                    <a:pt x="277" y="564"/>
                    <a:pt x="277" y="564"/>
                    <a:pt x="277" y="564"/>
                  </a:cubicBezTo>
                  <a:lnTo>
                    <a:pt x="292" y="465"/>
                  </a:lnTo>
                  <a:close/>
                  <a:moveTo>
                    <a:pt x="318" y="467"/>
                  </a:moveTo>
                  <a:cubicBezTo>
                    <a:pt x="342" y="468"/>
                    <a:pt x="342" y="468"/>
                    <a:pt x="342" y="468"/>
                  </a:cubicBezTo>
                  <a:cubicBezTo>
                    <a:pt x="323" y="569"/>
                    <a:pt x="323" y="569"/>
                    <a:pt x="323" y="569"/>
                  </a:cubicBezTo>
                  <a:cubicBezTo>
                    <a:pt x="300" y="567"/>
                    <a:pt x="300" y="567"/>
                    <a:pt x="300" y="567"/>
                  </a:cubicBezTo>
                  <a:lnTo>
                    <a:pt x="318" y="467"/>
                  </a:lnTo>
                  <a:close/>
                  <a:moveTo>
                    <a:pt x="345" y="468"/>
                  </a:moveTo>
                  <a:cubicBezTo>
                    <a:pt x="368" y="470"/>
                    <a:pt x="368" y="470"/>
                    <a:pt x="368" y="470"/>
                  </a:cubicBezTo>
                  <a:cubicBezTo>
                    <a:pt x="348" y="572"/>
                    <a:pt x="348" y="572"/>
                    <a:pt x="348" y="572"/>
                  </a:cubicBezTo>
                  <a:cubicBezTo>
                    <a:pt x="326" y="570"/>
                    <a:pt x="326" y="570"/>
                    <a:pt x="326" y="570"/>
                  </a:cubicBezTo>
                  <a:lnTo>
                    <a:pt x="345" y="468"/>
                  </a:lnTo>
                  <a:close/>
                  <a:moveTo>
                    <a:pt x="372" y="470"/>
                  </a:moveTo>
                  <a:cubicBezTo>
                    <a:pt x="395" y="472"/>
                    <a:pt x="395" y="472"/>
                    <a:pt x="395" y="472"/>
                  </a:cubicBezTo>
                  <a:cubicBezTo>
                    <a:pt x="373" y="575"/>
                    <a:pt x="373" y="575"/>
                    <a:pt x="373" y="575"/>
                  </a:cubicBezTo>
                  <a:cubicBezTo>
                    <a:pt x="351" y="573"/>
                    <a:pt x="351" y="573"/>
                    <a:pt x="351" y="573"/>
                  </a:cubicBezTo>
                  <a:lnTo>
                    <a:pt x="372" y="470"/>
                  </a:lnTo>
                  <a:close/>
                  <a:moveTo>
                    <a:pt x="398" y="472"/>
                  </a:moveTo>
                  <a:cubicBezTo>
                    <a:pt x="422" y="473"/>
                    <a:pt x="422" y="473"/>
                    <a:pt x="422" y="473"/>
                  </a:cubicBezTo>
                  <a:cubicBezTo>
                    <a:pt x="398" y="578"/>
                    <a:pt x="398" y="578"/>
                    <a:pt x="398" y="578"/>
                  </a:cubicBezTo>
                  <a:cubicBezTo>
                    <a:pt x="376" y="576"/>
                    <a:pt x="376" y="576"/>
                    <a:pt x="376" y="576"/>
                  </a:cubicBezTo>
                  <a:lnTo>
                    <a:pt x="398" y="472"/>
                  </a:lnTo>
                  <a:close/>
                  <a:moveTo>
                    <a:pt x="425" y="474"/>
                  </a:moveTo>
                  <a:cubicBezTo>
                    <a:pt x="449" y="475"/>
                    <a:pt x="449" y="475"/>
                    <a:pt x="449" y="475"/>
                  </a:cubicBezTo>
                  <a:cubicBezTo>
                    <a:pt x="424" y="581"/>
                    <a:pt x="424" y="581"/>
                    <a:pt x="424" y="581"/>
                  </a:cubicBezTo>
                  <a:cubicBezTo>
                    <a:pt x="402" y="579"/>
                    <a:pt x="402" y="579"/>
                    <a:pt x="402" y="579"/>
                  </a:cubicBezTo>
                  <a:lnTo>
                    <a:pt x="425" y="474"/>
                  </a:lnTo>
                  <a:close/>
                  <a:moveTo>
                    <a:pt x="452" y="475"/>
                  </a:moveTo>
                  <a:cubicBezTo>
                    <a:pt x="474" y="477"/>
                    <a:pt x="474" y="477"/>
                    <a:pt x="474" y="477"/>
                  </a:cubicBezTo>
                  <a:cubicBezTo>
                    <a:pt x="447" y="584"/>
                    <a:pt x="447" y="584"/>
                    <a:pt x="447" y="584"/>
                  </a:cubicBezTo>
                  <a:cubicBezTo>
                    <a:pt x="427" y="582"/>
                    <a:pt x="427" y="582"/>
                    <a:pt x="427" y="582"/>
                  </a:cubicBezTo>
                  <a:lnTo>
                    <a:pt x="452" y="475"/>
                  </a:lnTo>
                  <a:close/>
                  <a:moveTo>
                    <a:pt x="499" y="597"/>
                  </a:moveTo>
                  <a:cubicBezTo>
                    <a:pt x="520" y="600"/>
                    <a:pt x="520" y="600"/>
                    <a:pt x="520" y="600"/>
                  </a:cubicBezTo>
                  <a:cubicBezTo>
                    <a:pt x="519" y="601"/>
                    <a:pt x="519" y="601"/>
                    <a:pt x="519" y="601"/>
                  </a:cubicBezTo>
                  <a:cubicBezTo>
                    <a:pt x="512" y="600"/>
                    <a:pt x="505" y="600"/>
                    <a:pt x="499" y="599"/>
                  </a:cubicBezTo>
                  <a:lnTo>
                    <a:pt x="499" y="597"/>
                  </a:lnTo>
                  <a:close/>
                  <a:moveTo>
                    <a:pt x="548" y="603"/>
                  </a:moveTo>
                  <a:cubicBezTo>
                    <a:pt x="571" y="606"/>
                    <a:pt x="571" y="606"/>
                    <a:pt x="571" y="606"/>
                  </a:cubicBezTo>
                  <a:cubicBezTo>
                    <a:pt x="571" y="607"/>
                    <a:pt x="571" y="607"/>
                    <a:pt x="571" y="607"/>
                  </a:cubicBezTo>
                  <a:cubicBezTo>
                    <a:pt x="563" y="606"/>
                    <a:pt x="555" y="605"/>
                    <a:pt x="548" y="604"/>
                  </a:cubicBezTo>
                  <a:lnTo>
                    <a:pt x="548" y="603"/>
                  </a:lnTo>
                  <a:close/>
                  <a:moveTo>
                    <a:pt x="599" y="609"/>
                  </a:moveTo>
                  <a:cubicBezTo>
                    <a:pt x="605" y="610"/>
                    <a:pt x="605" y="610"/>
                    <a:pt x="605" y="610"/>
                  </a:cubicBezTo>
                  <a:cubicBezTo>
                    <a:pt x="606" y="610"/>
                    <a:pt x="606" y="611"/>
                    <a:pt x="607" y="611"/>
                  </a:cubicBezTo>
                  <a:cubicBezTo>
                    <a:pt x="607" y="611"/>
                    <a:pt x="608" y="611"/>
                    <a:pt x="608" y="612"/>
                  </a:cubicBezTo>
                  <a:cubicBezTo>
                    <a:pt x="605" y="611"/>
                    <a:pt x="602" y="611"/>
                    <a:pt x="599" y="610"/>
                  </a:cubicBezTo>
                  <a:lnTo>
                    <a:pt x="599" y="609"/>
                  </a:lnTo>
                  <a:close/>
                  <a:moveTo>
                    <a:pt x="612" y="611"/>
                  </a:moveTo>
                  <a:cubicBezTo>
                    <a:pt x="621" y="612"/>
                    <a:pt x="621" y="612"/>
                    <a:pt x="621" y="612"/>
                  </a:cubicBezTo>
                  <a:cubicBezTo>
                    <a:pt x="620" y="613"/>
                    <a:pt x="620" y="613"/>
                    <a:pt x="620" y="613"/>
                  </a:cubicBezTo>
                  <a:cubicBezTo>
                    <a:pt x="617" y="613"/>
                    <a:pt x="613" y="612"/>
                    <a:pt x="609" y="612"/>
                  </a:cubicBezTo>
                  <a:cubicBezTo>
                    <a:pt x="610" y="612"/>
                    <a:pt x="611" y="611"/>
                    <a:pt x="612" y="611"/>
                  </a:cubicBezTo>
                  <a:close/>
                  <a:moveTo>
                    <a:pt x="649" y="615"/>
                  </a:moveTo>
                  <a:cubicBezTo>
                    <a:pt x="667" y="617"/>
                    <a:pt x="667" y="617"/>
                    <a:pt x="667" y="617"/>
                  </a:cubicBezTo>
                  <a:cubicBezTo>
                    <a:pt x="666" y="619"/>
                    <a:pt x="666" y="619"/>
                    <a:pt x="666" y="619"/>
                  </a:cubicBezTo>
                  <a:cubicBezTo>
                    <a:pt x="661" y="618"/>
                    <a:pt x="655" y="617"/>
                    <a:pt x="648" y="616"/>
                  </a:cubicBezTo>
                  <a:lnTo>
                    <a:pt x="649" y="615"/>
                  </a:lnTo>
                  <a:close/>
                  <a:moveTo>
                    <a:pt x="651" y="609"/>
                  </a:moveTo>
                  <a:cubicBezTo>
                    <a:pt x="691" y="491"/>
                    <a:pt x="691" y="491"/>
                    <a:pt x="691" y="491"/>
                  </a:cubicBezTo>
                  <a:cubicBezTo>
                    <a:pt x="712" y="492"/>
                    <a:pt x="712" y="492"/>
                    <a:pt x="712" y="492"/>
                  </a:cubicBezTo>
                  <a:cubicBezTo>
                    <a:pt x="669" y="611"/>
                    <a:pt x="669" y="611"/>
                    <a:pt x="669" y="611"/>
                  </a:cubicBezTo>
                  <a:lnTo>
                    <a:pt x="651" y="609"/>
                  </a:lnTo>
                  <a:close/>
                  <a:moveTo>
                    <a:pt x="715" y="493"/>
                  </a:moveTo>
                  <a:cubicBezTo>
                    <a:pt x="725" y="493"/>
                    <a:pt x="725" y="493"/>
                    <a:pt x="725" y="493"/>
                  </a:cubicBezTo>
                  <a:cubicBezTo>
                    <a:pt x="682" y="612"/>
                    <a:pt x="682" y="612"/>
                    <a:pt x="682" y="612"/>
                  </a:cubicBezTo>
                  <a:cubicBezTo>
                    <a:pt x="673" y="611"/>
                    <a:pt x="673" y="611"/>
                    <a:pt x="673" y="611"/>
                  </a:cubicBezTo>
                  <a:lnTo>
                    <a:pt x="715" y="493"/>
                  </a:lnTo>
                  <a:close/>
                  <a:moveTo>
                    <a:pt x="717" y="486"/>
                  </a:moveTo>
                  <a:cubicBezTo>
                    <a:pt x="771" y="335"/>
                    <a:pt x="771" y="335"/>
                    <a:pt x="771" y="335"/>
                  </a:cubicBezTo>
                  <a:cubicBezTo>
                    <a:pt x="781" y="335"/>
                    <a:pt x="781" y="335"/>
                    <a:pt x="781" y="335"/>
                  </a:cubicBezTo>
                  <a:cubicBezTo>
                    <a:pt x="727" y="487"/>
                    <a:pt x="727" y="487"/>
                    <a:pt x="727" y="487"/>
                  </a:cubicBezTo>
                  <a:lnTo>
                    <a:pt x="717" y="486"/>
                  </a:lnTo>
                  <a:close/>
                  <a:moveTo>
                    <a:pt x="774" y="328"/>
                  </a:moveTo>
                  <a:cubicBezTo>
                    <a:pt x="819" y="200"/>
                    <a:pt x="819" y="200"/>
                    <a:pt x="819" y="200"/>
                  </a:cubicBezTo>
                  <a:cubicBezTo>
                    <a:pt x="830" y="199"/>
                    <a:pt x="830" y="199"/>
                    <a:pt x="830" y="199"/>
                  </a:cubicBezTo>
                  <a:cubicBezTo>
                    <a:pt x="784" y="328"/>
                    <a:pt x="784" y="328"/>
                    <a:pt x="784" y="328"/>
                  </a:cubicBezTo>
                  <a:lnTo>
                    <a:pt x="774" y="328"/>
                  </a:lnTo>
                  <a:close/>
                  <a:moveTo>
                    <a:pt x="789" y="196"/>
                  </a:moveTo>
                  <a:cubicBezTo>
                    <a:pt x="761" y="198"/>
                    <a:pt x="761" y="198"/>
                    <a:pt x="761" y="198"/>
                  </a:cubicBezTo>
                  <a:cubicBezTo>
                    <a:pt x="775" y="156"/>
                    <a:pt x="775" y="156"/>
                    <a:pt x="775" y="156"/>
                  </a:cubicBezTo>
                  <a:cubicBezTo>
                    <a:pt x="803" y="153"/>
                    <a:pt x="803" y="153"/>
                    <a:pt x="803" y="153"/>
                  </a:cubicBezTo>
                  <a:lnTo>
                    <a:pt x="789" y="196"/>
                  </a:lnTo>
                  <a:close/>
                  <a:moveTo>
                    <a:pt x="725" y="201"/>
                  </a:moveTo>
                  <a:cubicBezTo>
                    <a:pt x="697" y="203"/>
                    <a:pt x="697" y="203"/>
                    <a:pt x="697" y="203"/>
                  </a:cubicBezTo>
                  <a:cubicBezTo>
                    <a:pt x="709" y="162"/>
                    <a:pt x="709" y="162"/>
                    <a:pt x="709" y="162"/>
                  </a:cubicBezTo>
                  <a:cubicBezTo>
                    <a:pt x="738" y="159"/>
                    <a:pt x="738" y="159"/>
                    <a:pt x="738" y="159"/>
                  </a:cubicBezTo>
                  <a:lnTo>
                    <a:pt x="725" y="201"/>
                  </a:lnTo>
                  <a:close/>
                  <a:moveTo>
                    <a:pt x="664" y="205"/>
                  </a:moveTo>
                  <a:cubicBezTo>
                    <a:pt x="635" y="208"/>
                    <a:pt x="635" y="208"/>
                    <a:pt x="635" y="208"/>
                  </a:cubicBezTo>
                  <a:cubicBezTo>
                    <a:pt x="647" y="168"/>
                    <a:pt x="647" y="168"/>
                    <a:pt x="647" y="168"/>
                  </a:cubicBezTo>
                  <a:cubicBezTo>
                    <a:pt x="676" y="165"/>
                    <a:pt x="676" y="165"/>
                    <a:pt x="676" y="165"/>
                  </a:cubicBezTo>
                  <a:lnTo>
                    <a:pt x="664" y="205"/>
                  </a:lnTo>
                  <a:close/>
                  <a:moveTo>
                    <a:pt x="600" y="210"/>
                  </a:moveTo>
                  <a:cubicBezTo>
                    <a:pt x="574" y="212"/>
                    <a:pt x="574" y="212"/>
                    <a:pt x="574" y="212"/>
                  </a:cubicBezTo>
                  <a:cubicBezTo>
                    <a:pt x="585" y="173"/>
                    <a:pt x="585" y="173"/>
                    <a:pt x="585" y="173"/>
                  </a:cubicBezTo>
                  <a:cubicBezTo>
                    <a:pt x="611" y="171"/>
                    <a:pt x="611" y="171"/>
                    <a:pt x="611" y="171"/>
                  </a:cubicBezTo>
                  <a:lnTo>
                    <a:pt x="600" y="210"/>
                  </a:lnTo>
                  <a:close/>
                  <a:moveTo>
                    <a:pt x="539" y="215"/>
                  </a:moveTo>
                  <a:cubicBezTo>
                    <a:pt x="513" y="217"/>
                    <a:pt x="513" y="217"/>
                    <a:pt x="513" y="217"/>
                  </a:cubicBezTo>
                  <a:cubicBezTo>
                    <a:pt x="522" y="179"/>
                    <a:pt x="522" y="179"/>
                    <a:pt x="522" y="179"/>
                  </a:cubicBezTo>
                  <a:cubicBezTo>
                    <a:pt x="549" y="177"/>
                    <a:pt x="549" y="177"/>
                    <a:pt x="549" y="177"/>
                  </a:cubicBezTo>
                  <a:lnTo>
                    <a:pt x="539" y="215"/>
                  </a:lnTo>
                  <a:close/>
                  <a:moveTo>
                    <a:pt x="479" y="220"/>
                  </a:moveTo>
                  <a:cubicBezTo>
                    <a:pt x="451" y="222"/>
                    <a:pt x="451" y="222"/>
                    <a:pt x="451" y="222"/>
                  </a:cubicBezTo>
                  <a:cubicBezTo>
                    <a:pt x="459" y="185"/>
                    <a:pt x="459" y="185"/>
                    <a:pt x="459" y="185"/>
                  </a:cubicBezTo>
                  <a:cubicBezTo>
                    <a:pt x="488" y="182"/>
                    <a:pt x="488" y="182"/>
                    <a:pt x="488" y="182"/>
                  </a:cubicBezTo>
                  <a:lnTo>
                    <a:pt x="479" y="220"/>
                  </a:lnTo>
                  <a:close/>
                  <a:moveTo>
                    <a:pt x="417" y="224"/>
                  </a:moveTo>
                  <a:cubicBezTo>
                    <a:pt x="390" y="227"/>
                    <a:pt x="390" y="227"/>
                    <a:pt x="390" y="227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424" y="188"/>
                    <a:pt x="424" y="188"/>
                    <a:pt x="424" y="188"/>
                  </a:cubicBezTo>
                  <a:lnTo>
                    <a:pt x="417" y="224"/>
                  </a:lnTo>
                  <a:close/>
                  <a:moveTo>
                    <a:pt x="356" y="229"/>
                  </a:moveTo>
                  <a:cubicBezTo>
                    <a:pt x="329" y="231"/>
                    <a:pt x="329" y="231"/>
                    <a:pt x="329" y="231"/>
                  </a:cubicBezTo>
                  <a:cubicBezTo>
                    <a:pt x="335" y="196"/>
                    <a:pt x="335" y="196"/>
                    <a:pt x="335" y="196"/>
                  </a:cubicBezTo>
                  <a:cubicBezTo>
                    <a:pt x="362" y="194"/>
                    <a:pt x="362" y="194"/>
                    <a:pt x="362" y="194"/>
                  </a:cubicBezTo>
                  <a:lnTo>
                    <a:pt x="356" y="229"/>
                  </a:lnTo>
                  <a:close/>
                  <a:moveTo>
                    <a:pt x="294" y="234"/>
                  </a:moveTo>
                  <a:cubicBezTo>
                    <a:pt x="267" y="236"/>
                    <a:pt x="267" y="236"/>
                    <a:pt x="267" y="236"/>
                  </a:cubicBezTo>
                  <a:cubicBezTo>
                    <a:pt x="271" y="202"/>
                    <a:pt x="271" y="202"/>
                    <a:pt x="271" y="202"/>
                  </a:cubicBezTo>
                  <a:cubicBezTo>
                    <a:pt x="299" y="199"/>
                    <a:pt x="299" y="199"/>
                    <a:pt x="299" y="199"/>
                  </a:cubicBezTo>
                  <a:lnTo>
                    <a:pt x="294" y="234"/>
                  </a:lnTo>
                  <a:close/>
                  <a:moveTo>
                    <a:pt x="234" y="239"/>
                  </a:moveTo>
                  <a:cubicBezTo>
                    <a:pt x="207" y="241"/>
                    <a:pt x="207" y="241"/>
                    <a:pt x="207" y="241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38" y="205"/>
                    <a:pt x="238" y="205"/>
                    <a:pt x="238" y="205"/>
                  </a:cubicBezTo>
                  <a:lnTo>
                    <a:pt x="234" y="239"/>
                  </a:lnTo>
                  <a:close/>
                  <a:moveTo>
                    <a:pt x="173" y="243"/>
                  </a:moveTo>
                  <a:cubicBezTo>
                    <a:pt x="147" y="245"/>
                    <a:pt x="147" y="245"/>
                    <a:pt x="147" y="245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176" y="209"/>
                    <a:pt x="176" y="209"/>
                    <a:pt x="176" y="209"/>
                  </a:cubicBezTo>
                  <a:lnTo>
                    <a:pt x="173" y="243"/>
                  </a:lnTo>
                  <a:close/>
                  <a:moveTo>
                    <a:pt x="113" y="248"/>
                  </a:moveTo>
                  <a:cubicBezTo>
                    <a:pt x="87" y="250"/>
                    <a:pt x="87" y="250"/>
                    <a:pt x="87" y="250"/>
                  </a:cubicBezTo>
                  <a:cubicBezTo>
                    <a:pt x="89" y="217"/>
                    <a:pt x="89" y="217"/>
                    <a:pt x="89" y="217"/>
                  </a:cubicBezTo>
                  <a:cubicBezTo>
                    <a:pt x="115" y="214"/>
                    <a:pt x="115" y="214"/>
                    <a:pt x="115" y="214"/>
                  </a:cubicBezTo>
                  <a:lnTo>
                    <a:pt x="113" y="248"/>
                  </a:lnTo>
                  <a:close/>
                  <a:moveTo>
                    <a:pt x="85" y="217"/>
                  </a:moveTo>
                  <a:cubicBezTo>
                    <a:pt x="84" y="250"/>
                    <a:pt x="84" y="250"/>
                    <a:pt x="84" y="250"/>
                  </a:cubicBezTo>
                  <a:cubicBezTo>
                    <a:pt x="53" y="253"/>
                    <a:pt x="53" y="253"/>
                    <a:pt x="53" y="253"/>
                  </a:cubicBezTo>
                  <a:cubicBezTo>
                    <a:pt x="53" y="250"/>
                    <a:pt x="53" y="250"/>
                    <a:pt x="53" y="250"/>
                  </a:cubicBezTo>
                  <a:cubicBezTo>
                    <a:pt x="59" y="250"/>
                    <a:pt x="65" y="249"/>
                    <a:pt x="65" y="249"/>
                  </a:cubicBezTo>
                  <a:cubicBezTo>
                    <a:pt x="66" y="248"/>
                    <a:pt x="66" y="223"/>
                    <a:pt x="65" y="222"/>
                  </a:cubicBezTo>
                  <a:cubicBezTo>
                    <a:pt x="64" y="222"/>
                    <a:pt x="53" y="222"/>
                    <a:pt x="53" y="222"/>
                  </a:cubicBezTo>
                  <a:cubicBezTo>
                    <a:pt x="53" y="222"/>
                    <a:pt x="53" y="221"/>
                    <a:pt x="52" y="220"/>
                  </a:cubicBezTo>
                  <a:lnTo>
                    <a:pt x="85" y="217"/>
                  </a:lnTo>
                  <a:close/>
                  <a:moveTo>
                    <a:pt x="23" y="252"/>
                  </a:moveTo>
                  <a:cubicBezTo>
                    <a:pt x="30" y="251"/>
                    <a:pt x="36" y="251"/>
                    <a:pt x="36" y="251"/>
                  </a:cubicBezTo>
                  <a:cubicBezTo>
                    <a:pt x="36" y="251"/>
                    <a:pt x="42" y="251"/>
                    <a:pt x="49" y="250"/>
                  </a:cubicBezTo>
                  <a:cubicBezTo>
                    <a:pt x="49" y="253"/>
                    <a:pt x="49" y="253"/>
                    <a:pt x="49" y="253"/>
                  </a:cubicBezTo>
                  <a:cubicBezTo>
                    <a:pt x="23" y="255"/>
                    <a:pt x="23" y="255"/>
                    <a:pt x="23" y="255"/>
                  </a:cubicBezTo>
                  <a:cubicBezTo>
                    <a:pt x="23" y="254"/>
                    <a:pt x="23" y="253"/>
                    <a:pt x="23" y="252"/>
                  </a:cubicBezTo>
                  <a:close/>
                  <a:moveTo>
                    <a:pt x="24" y="272"/>
                  </a:moveTo>
                  <a:cubicBezTo>
                    <a:pt x="24" y="268"/>
                    <a:pt x="24" y="265"/>
                    <a:pt x="24" y="261"/>
                  </a:cubicBezTo>
                  <a:cubicBezTo>
                    <a:pt x="49" y="259"/>
                    <a:pt x="49" y="259"/>
                    <a:pt x="49" y="259"/>
                  </a:cubicBezTo>
                  <a:cubicBezTo>
                    <a:pt x="50" y="326"/>
                    <a:pt x="50" y="326"/>
                    <a:pt x="50" y="326"/>
                  </a:cubicBezTo>
                  <a:cubicBezTo>
                    <a:pt x="25" y="326"/>
                    <a:pt x="25" y="326"/>
                    <a:pt x="25" y="326"/>
                  </a:cubicBezTo>
                  <a:cubicBezTo>
                    <a:pt x="25" y="306"/>
                    <a:pt x="24" y="287"/>
                    <a:pt x="24" y="272"/>
                  </a:cubicBezTo>
                  <a:close/>
                  <a:moveTo>
                    <a:pt x="26" y="356"/>
                  </a:moveTo>
                  <a:cubicBezTo>
                    <a:pt x="26" y="348"/>
                    <a:pt x="26" y="340"/>
                    <a:pt x="25" y="333"/>
                  </a:cubicBezTo>
                  <a:cubicBezTo>
                    <a:pt x="50" y="333"/>
                    <a:pt x="50" y="333"/>
                    <a:pt x="50" y="333"/>
                  </a:cubicBezTo>
                  <a:cubicBezTo>
                    <a:pt x="51" y="442"/>
                    <a:pt x="51" y="442"/>
                    <a:pt x="51" y="442"/>
                  </a:cubicBezTo>
                  <a:cubicBezTo>
                    <a:pt x="28" y="441"/>
                    <a:pt x="28" y="441"/>
                    <a:pt x="28" y="441"/>
                  </a:cubicBezTo>
                  <a:cubicBezTo>
                    <a:pt x="28" y="413"/>
                    <a:pt x="27" y="384"/>
                    <a:pt x="26" y="356"/>
                  </a:cubicBezTo>
                  <a:close/>
                  <a:moveTo>
                    <a:pt x="32" y="533"/>
                  </a:moveTo>
                  <a:cubicBezTo>
                    <a:pt x="31" y="513"/>
                    <a:pt x="30" y="482"/>
                    <a:pt x="29" y="448"/>
                  </a:cubicBezTo>
                  <a:cubicBezTo>
                    <a:pt x="51" y="449"/>
                    <a:pt x="51" y="449"/>
                    <a:pt x="51" y="449"/>
                  </a:cubicBezTo>
                  <a:cubicBezTo>
                    <a:pt x="51" y="537"/>
                    <a:pt x="51" y="537"/>
                    <a:pt x="51" y="537"/>
                  </a:cubicBezTo>
                  <a:cubicBezTo>
                    <a:pt x="32" y="534"/>
                    <a:pt x="32" y="534"/>
                    <a:pt x="32" y="534"/>
                  </a:cubicBezTo>
                  <a:cubicBezTo>
                    <a:pt x="32" y="534"/>
                    <a:pt x="32" y="534"/>
                    <a:pt x="32" y="533"/>
                  </a:cubicBezTo>
                  <a:close/>
                  <a:moveTo>
                    <a:pt x="49" y="560"/>
                  </a:moveTo>
                  <a:cubicBezTo>
                    <a:pt x="44" y="559"/>
                    <a:pt x="40" y="558"/>
                    <a:pt x="37" y="558"/>
                  </a:cubicBezTo>
                  <a:cubicBezTo>
                    <a:pt x="36" y="557"/>
                    <a:pt x="34" y="557"/>
                    <a:pt x="34" y="557"/>
                  </a:cubicBezTo>
                  <a:cubicBezTo>
                    <a:pt x="34" y="557"/>
                    <a:pt x="33" y="557"/>
                    <a:pt x="33" y="557"/>
                  </a:cubicBezTo>
                  <a:cubicBezTo>
                    <a:pt x="33" y="557"/>
                    <a:pt x="33" y="556"/>
                    <a:pt x="33" y="555"/>
                  </a:cubicBezTo>
                  <a:cubicBezTo>
                    <a:pt x="33" y="553"/>
                    <a:pt x="32" y="548"/>
                    <a:pt x="32" y="541"/>
                  </a:cubicBezTo>
                  <a:cubicBezTo>
                    <a:pt x="51" y="543"/>
                    <a:pt x="51" y="543"/>
                    <a:pt x="51" y="543"/>
                  </a:cubicBezTo>
                  <a:cubicBezTo>
                    <a:pt x="51" y="560"/>
                    <a:pt x="51" y="560"/>
                    <a:pt x="51" y="560"/>
                  </a:cubicBezTo>
                  <a:cubicBezTo>
                    <a:pt x="51" y="560"/>
                    <a:pt x="50" y="560"/>
                    <a:pt x="49" y="560"/>
                  </a:cubicBezTo>
                  <a:close/>
                  <a:moveTo>
                    <a:pt x="55" y="560"/>
                  </a:moveTo>
                  <a:cubicBezTo>
                    <a:pt x="55" y="544"/>
                    <a:pt x="55" y="544"/>
                    <a:pt x="55" y="544"/>
                  </a:cubicBezTo>
                  <a:cubicBezTo>
                    <a:pt x="75" y="546"/>
                    <a:pt x="75" y="546"/>
                    <a:pt x="75" y="546"/>
                  </a:cubicBezTo>
                  <a:cubicBezTo>
                    <a:pt x="74" y="563"/>
                    <a:pt x="74" y="563"/>
                    <a:pt x="74" y="563"/>
                  </a:cubicBezTo>
                  <a:cubicBezTo>
                    <a:pt x="67" y="562"/>
                    <a:pt x="60" y="561"/>
                    <a:pt x="55" y="560"/>
                  </a:cubicBezTo>
                  <a:close/>
                  <a:moveTo>
                    <a:pt x="78" y="564"/>
                  </a:moveTo>
                  <a:cubicBezTo>
                    <a:pt x="78" y="547"/>
                    <a:pt x="78" y="547"/>
                    <a:pt x="78" y="547"/>
                  </a:cubicBezTo>
                  <a:cubicBezTo>
                    <a:pt x="98" y="549"/>
                    <a:pt x="98" y="549"/>
                    <a:pt x="98" y="549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96" y="566"/>
                    <a:pt x="95" y="566"/>
                    <a:pt x="93" y="566"/>
                  </a:cubicBezTo>
                  <a:cubicBezTo>
                    <a:pt x="88" y="565"/>
                    <a:pt x="83" y="564"/>
                    <a:pt x="78" y="564"/>
                  </a:cubicBezTo>
                  <a:close/>
                  <a:moveTo>
                    <a:pt x="102" y="549"/>
                  </a:moveTo>
                  <a:cubicBezTo>
                    <a:pt x="124" y="552"/>
                    <a:pt x="124" y="552"/>
                    <a:pt x="124" y="552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15" y="569"/>
                    <a:pt x="108" y="568"/>
                    <a:pt x="101" y="567"/>
                  </a:cubicBezTo>
                  <a:lnTo>
                    <a:pt x="102" y="549"/>
                  </a:lnTo>
                  <a:close/>
                  <a:moveTo>
                    <a:pt x="127" y="552"/>
                  </a:moveTo>
                  <a:cubicBezTo>
                    <a:pt x="148" y="555"/>
                    <a:pt x="148" y="555"/>
                    <a:pt x="148" y="555"/>
                  </a:cubicBezTo>
                  <a:cubicBezTo>
                    <a:pt x="147" y="573"/>
                    <a:pt x="147" y="573"/>
                    <a:pt x="147" y="573"/>
                  </a:cubicBezTo>
                  <a:cubicBezTo>
                    <a:pt x="140" y="572"/>
                    <a:pt x="133" y="571"/>
                    <a:pt x="126" y="570"/>
                  </a:cubicBezTo>
                  <a:lnTo>
                    <a:pt x="127" y="552"/>
                  </a:lnTo>
                  <a:close/>
                  <a:moveTo>
                    <a:pt x="152" y="555"/>
                  </a:moveTo>
                  <a:cubicBezTo>
                    <a:pt x="173" y="558"/>
                    <a:pt x="173" y="558"/>
                    <a:pt x="173" y="558"/>
                  </a:cubicBezTo>
                  <a:cubicBezTo>
                    <a:pt x="171" y="576"/>
                    <a:pt x="171" y="576"/>
                    <a:pt x="171" y="576"/>
                  </a:cubicBezTo>
                  <a:cubicBezTo>
                    <a:pt x="164" y="575"/>
                    <a:pt x="157" y="574"/>
                    <a:pt x="150" y="573"/>
                  </a:cubicBezTo>
                  <a:lnTo>
                    <a:pt x="152" y="555"/>
                  </a:lnTo>
                  <a:close/>
                  <a:moveTo>
                    <a:pt x="176" y="558"/>
                  </a:moveTo>
                  <a:cubicBezTo>
                    <a:pt x="197" y="561"/>
                    <a:pt x="197" y="561"/>
                    <a:pt x="197" y="561"/>
                  </a:cubicBezTo>
                  <a:cubicBezTo>
                    <a:pt x="195" y="579"/>
                    <a:pt x="195" y="579"/>
                    <a:pt x="195" y="579"/>
                  </a:cubicBezTo>
                  <a:cubicBezTo>
                    <a:pt x="188" y="578"/>
                    <a:pt x="181" y="578"/>
                    <a:pt x="174" y="577"/>
                  </a:cubicBezTo>
                  <a:lnTo>
                    <a:pt x="176" y="558"/>
                  </a:lnTo>
                  <a:close/>
                  <a:moveTo>
                    <a:pt x="200" y="561"/>
                  </a:moveTo>
                  <a:cubicBezTo>
                    <a:pt x="222" y="564"/>
                    <a:pt x="222" y="564"/>
                    <a:pt x="222" y="564"/>
                  </a:cubicBezTo>
                  <a:cubicBezTo>
                    <a:pt x="219" y="582"/>
                    <a:pt x="219" y="582"/>
                    <a:pt x="219" y="582"/>
                  </a:cubicBezTo>
                  <a:cubicBezTo>
                    <a:pt x="212" y="582"/>
                    <a:pt x="205" y="581"/>
                    <a:pt x="198" y="580"/>
                  </a:cubicBezTo>
                  <a:lnTo>
                    <a:pt x="200" y="561"/>
                  </a:lnTo>
                  <a:close/>
                  <a:moveTo>
                    <a:pt x="222" y="583"/>
                  </a:moveTo>
                  <a:cubicBezTo>
                    <a:pt x="225" y="564"/>
                    <a:pt x="225" y="564"/>
                    <a:pt x="225" y="564"/>
                  </a:cubicBezTo>
                  <a:cubicBezTo>
                    <a:pt x="247" y="567"/>
                    <a:pt x="247" y="567"/>
                    <a:pt x="247" y="567"/>
                  </a:cubicBezTo>
                  <a:cubicBezTo>
                    <a:pt x="245" y="586"/>
                    <a:pt x="245" y="586"/>
                    <a:pt x="245" y="586"/>
                  </a:cubicBezTo>
                  <a:cubicBezTo>
                    <a:pt x="239" y="585"/>
                    <a:pt x="234" y="584"/>
                    <a:pt x="229" y="584"/>
                  </a:cubicBezTo>
                  <a:cubicBezTo>
                    <a:pt x="227" y="583"/>
                    <a:pt x="225" y="583"/>
                    <a:pt x="222" y="583"/>
                  </a:cubicBezTo>
                  <a:close/>
                  <a:moveTo>
                    <a:pt x="250" y="567"/>
                  </a:moveTo>
                  <a:cubicBezTo>
                    <a:pt x="273" y="570"/>
                    <a:pt x="273" y="570"/>
                    <a:pt x="273" y="570"/>
                  </a:cubicBezTo>
                  <a:cubicBezTo>
                    <a:pt x="270" y="589"/>
                    <a:pt x="270" y="589"/>
                    <a:pt x="270" y="589"/>
                  </a:cubicBezTo>
                  <a:cubicBezTo>
                    <a:pt x="262" y="588"/>
                    <a:pt x="255" y="587"/>
                    <a:pt x="248" y="586"/>
                  </a:cubicBezTo>
                  <a:lnTo>
                    <a:pt x="250" y="567"/>
                  </a:lnTo>
                  <a:close/>
                  <a:moveTo>
                    <a:pt x="276" y="570"/>
                  </a:moveTo>
                  <a:cubicBezTo>
                    <a:pt x="296" y="573"/>
                    <a:pt x="296" y="573"/>
                    <a:pt x="296" y="573"/>
                  </a:cubicBezTo>
                  <a:cubicBezTo>
                    <a:pt x="293" y="592"/>
                    <a:pt x="293" y="592"/>
                    <a:pt x="293" y="592"/>
                  </a:cubicBezTo>
                  <a:cubicBezTo>
                    <a:pt x="286" y="591"/>
                    <a:pt x="279" y="590"/>
                    <a:pt x="273" y="589"/>
                  </a:cubicBezTo>
                  <a:lnTo>
                    <a:pt x="276" y="570"/>
                  </a:lnTo>
                  <a:close/>
                  <a:moveTo>
                    <a:pt x="299" y="573"/>
                  </a:moveTo>
                  <a:cubicBezTo>
                    <a:pt x="321" y="576"/>
                    <a:pt x="321" y="576"/>
                    <a:pt x="321" y="576"/>
                  </a:cubicBezTo>
                  <a:cubicBezTo>
                    <a:pt x="318" y="595"/>
                    <a:pt x="318" y="595"/>
                    <a:pt x="318" y="595"/>
                  </a:cubicBezTo>
                  <a:cubicBezTo>
                    <a:pt x="311" y="594"/>
                    <a:pt x="303" y="593"/>
                    <a:pt x="296" y="592"/>
                  </a:cubicBezTo>
                  <a:lnTo>
                    <a:pt x="299" y="573"/>
                  </a:lnTo>
                  <a:close/>
                  <a:moveTo>
                    <a:pt x="325" y="576"/>
                  </a:moveTo>
                  <a:cubicBezTo>
                    <a:pt x="347" y="579"/>
                    <a:pt x="347" y="579"/>
                    <a:pt x="347" y="579"/>
                  </a:cubicBezTo>
                  <a:cubicBezTo>
                    <a:pt x="343" y="598"/>
                    <a:pt x="343" y="598"/>
                    <a:pt x="343" y="598"/>
                  </a:cubicBezTo>
                  <a:cubicBezTo>
                    <a:pt x="336" y="598"/>
                    <a:pt x="329" y="597"/>
                    <a:pt x="321" y="596"/>
                  </a:cubicBezTo>
                  <a:lnTo>
                    <a:pt x="325" y="576"/>
                  </a:lnTo>
                  <a:close/>
                  <a:moveTo>
                    <a:pt x="350" y="579"/>
                  </a:moveTo>
                  <a:cubicBezTo>
                    <a:pt x="371" y="582"/>
                    <a:pt x="371" y="582"/>
                    <a:pt x="371" y="582"/>
                  </a:cubicBezTo>
                  <a:cubicBezTo>
                    <a:pt x="367" y="602"/>
                    <a:pt x="367" y="602"/>
                    <a:pt x="367" y="602"/>
                  </a:cubicBezTo>
                  <a:cubicBezTo>
                    <a:pt x="360" y="601"/>
                    <a:pt x="353" y="600"/>
                    <a:pt x="346" y="599"/>
                  </a:cubicBezTo>
                  <a:lnTo>
                    <a:pt x="350" y="579"/>
                  </a:lnTo>
                  <a:close/>
                  <a:moveTo>
                    <a:pt x="375" y="582"/>
                  </a:moveTo>
                  <a:cubicBezTo>
                    <a:pt x="397" y="585"/>
                    <a:pt x="397" y="585"/>
                    <a:pt x="397" y="585"/>
                  </a:cubicBezTo>
                  <a:cubicBezTo>
                    <a:pt x="392" y="605"/>
                    <a:pt x="392" y="605"/>
                    <a:pt x="392" y="605"/>
                  </a:cubicBezTo>
                  <a:cubicBezTo>
                    <a:pt x="385" y="604"/>
                    <a:pt x="378" y="603"/>
                    <a:pt x="370" y="602"/>
                  </a:cubicBezTo>
                  <a:lnTo>
                    <a:pt x="375" y="582"/>
                  </a:lnTo>
                  <a:close/>
                  <a:moveTo>
                    <a:pt x="400" y="585"/>
                  </a:moveTo>
                  <a:cubicBezTo>
                    <a:pt x="422" y="588"/>
                    <a:pt x="422" y="588"/>
                    <a:pt x="422" y="588"/>
                  </a:cubicBezTo>
                  <a:cubicBezTo>
                    <a:pt x="418" y="608"/>
                    <a:pt x="418" y="608"/>
                    <a:pt x="418" y="608"/>
                  </a:cubicBezTo>
                  <a:cubicBezTo>
                    <a:pt x="411" y="607"/>
                    <a:pt x="404" y="606"/>
                    <a:pt x="396" y="605"/>
                  </a:cubicBezTo>
                  <a:lnTo>
                    <a:pt x="400" y="585"/>
                  </a:lnTo>
                  <a:close/>
                  <a:moveTo>
                    <a:pt x="441" y="611"/>
                  </a:moveTo>
                  <a:cubicBezTo>
                    <a:pt x="435" y="610"/>
                    <a:pt x="428" y="609"/>
                    <a:pt x="421" y="608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46" y="591"/>
                    <a:pt x="446" y="591"/>
                    <a:pt x="446" y="591"/>
                  </a:cubicBezTo>
                  <a:cubicBezTo>
                    <a:pt x="445" y="593"/>
                    <a:pt x="445" y="593"/>
                    <a:pt x="445" y="593"/>
                  </a:cubicBezTo>
                  <a:cubicBezTo>
                    <a:pt x="441" y="593"/>
                    <a:pt x="438" y="593"/>
                    <a:pt x="438" y="593"/>
                  </a:cubicBezTo>
                  <a:cubicBezTo>
                    <a:pt x="437" y="593"/>
                    <a:pt x="440" y="597"/>
                    <a:pt x="443" y="602"/>
                  </a:cubicBezTo>
                  <a:lnTo>
                    <a:pt x="441" y="611"/>
                  </a:lnTo>
                  <a:close/>
                  <a:moveTo>
                    <a:pt x="444" y="611"/>
                  </a:moveTo>
                  <a:cubicBezTo>
                    <a:pt x="446" y="605"/>
                    <a:pt x="446" y="605"/>
                    <a:pt x="446" y="605"/>
                  </a:cubicBezTo>
                  <a:cubicBezTo>
                    <a:pt x="447" y="608"/>
                    <a:pt x="449" y="610"/>
                    <a:pt x="451" y="612"/>
                  </a:cubicBezTo>
                  <a:cubicBezTo>
                    <a:pt x="449" y="612"/>
                    <a:pt x="447" y="612"/>
                    <a:pt x="444" y="611"/>
                  </a:cubicBezTo>
                  <a:close/>
                  <a:moveTo>
                    <a:pt x="670" y="618"/>
                  </a:moveTo>
                  <a:cubicBezTo>
                    <a:pt x="680" y="619"/>
                    <a:pt x="680" y="619"/>
                    <a:pt x="680" y="619"/>
                  </a:cubicBezTo>
                  <a:cubicBezTo>
                    <a:pt x="680" y="620"/>
                    <a:pt x="680" y="620"/>
                    <a:pt x="680" y="620"/>
                  </a:cubicBezTo>
                  <a:cubicBezTo>
                    <a:pt x="677" y="620"/>
                    <a:pt x="673" y="620"/>
                    <a:pt x="670" y="619"/>
                  </a:cubicBezTo>
                  <a:lnTo>
                    <a:pt x="670" y="618"/>
                  </a:lnTo>
                  <a:close/>
                  <a:moveTo>
                    <a:pt x="695" y="622"/>
                  </a:moveTo>
                  <a:cubicBezTo>
                    <a:pt x="694" y="622"/>
                    <a:pt x="691" y="622"/>
                    <a:pt x="688" y="621"/>
                  </a:cubicBezTo>
                  <a:cubicBezTo>
                    <a:pt x="689" y="620"/>
                    <a:pt x="689" y="620"/>
                    <a:pt x="689" y="620"/>
                  </a:cubicBezTo>
                  <a:cubicBezTo>
                    <a:pt x="696" y="621"/>
                    <a:pt x="696" y="621"/>
                    <a:pt x="696" y="621"/>
                  </a:cubicBezTo>
                  <a:lnTo>
                    <a:pt x="695" y="622"/>
                  </a:lnTo>
                  <a:close/>
                  <a:moveTo>
                    <a:pt x="698" y="614"/>
                  </a:moveTo>
                  <a:cubicBezTo>
                    <a:pt x="691" y="613"/>
                    <a:pt x="691" y="613"/>
                    <a:pt x="691" y="613"/>
                  </a:cubicBezTo>
                  <a:cubicBezTo>
                    <a:pt x="733" y="494"/>
                    <a:pt x="733" y="494"/>
                    <a:pt x="733" y="494"/>
                  </a:cubicBezTo>
                  <a:cubicBezTo>
                    <a:pt x="739" y="494"/>
                    <a:pt x="739" y="494"/>
                    <a:pt x="739" y="494"/>
                  </a:cubicBezTo>
                  <a:lnTo>
                    <a:pt x="698" y="614"/>
                  </a:lnTo>
                  <a:close/>
                  <a:moveTo>
                    <a:pt x="741" y="488"/>
                  </a:moveTo>
                  <a:cubicBezTo>
                    <a:pt x="736" y="487"/>
                    <a:pt x="736" y="487"/>
                    <a:pt x="736" y="487"/>
                  </a:cubicBezTo>
                  <a:cubicBezTo>
                    <a:pt x="790" y="335"/>
                    <a:pt x="790" y="335"/>
                    <a:pt x="790" y="335"/>
                  </a:cubicBezTo>
                  <a:cubicBezTo>
                    <a:pt x="793" y="335"/>
                    <a:pt x="793" y="335"/>
                    <a:pt x="793" y="335"/>
                  </a:cubicBezTo>
                  <a:lnTo>
                    <a:pt x="741" y="488"/>
                  </a:lnTo>
                  <a:close/>
                  <a:moveTo>
                    <a:pt x="795" y="328"/>
                  </a:moveTo>
                  <a:cubicBezTo>
                    <a:pt x="792" y="328"/>
                    <a:pt x="792" y="328"/>
                    <a:pt x="792" y="328"/>
                  </a:cubicBezTo>
                  <a:cubicBezTo>
                    <a:pt x="839" y="199"/>
                    <a:pt x="839" y="199"/>
                    <a:pt x="839" y="199"/>
                  </a:cubicBezTo>
                  <a:cubicBezTo>
                    <a:pt x="839" y="199"/>
                    <a:pt x="839" y="199"/>
                    <a:pt x="839" y="199"/>
                  </a:cubicBezTo>
                  <a:lnTo>
                    <a:pt x="795" y="328"/>
                  </a:lnTo>
                  <a:close/>
                  <a:moveTo>
                    <a:pt x="878" y="197"/>
                  </a:moveTo>
                  <a:cubicBezTo>
                    <a:pt x="878" y="197"/>
                    <a:pt x="877" y="198"/>
                    <a:pt x="877" y="199"/>
                  </a:cubicBezTo>
                  <a:cubicBezTo>
                    <a:pt x="877" y="199"/>
                    <a:pt x="877" y="199"/>
                    <a:pt x="877" y="199"/>
                  </a:cubicBezTo>
                  <a:cubicBezTo>
                    <a:pt x="877" y="199"/>
                    <a:pt x="876" y="200"/>
                    <a:pt x="876" y="200"/>
                  </a:cubicBezTo>
                  <a:cubicBezTo>
                    <a:pt x="874" y="201"/>
                    <a:pt x="872" y="202"/>
                    <a:pt x="869" y="203"/>
                  </a:cubicBezTo>
                  <a:cubicBezTo>
                    <a:pt x="865" y="205"/>
                    <a:pt x="861" y="207"/>
                    <a:pt x="857" y="208"/>
                  </a:cubicBezTo>
                  <a:cubicBezTo>
                    <a:pt x="855" y="209"/>
                    <a:pt x="853" y="209"/>
                    <a:pt x="852" y="209"/>
                  </a:cubicBezTo>
                  <a:cubicBezTo>
                    <a:pt x="851" y="210"/>
                    <a:pt x="851" y="210"/>
                    <a:pt x="851" y="210"/>
                  </a:cubicBezTo>
                  <a:cubicBezTo>
                    <a:pt x="851" y="210"/>
                    <a:pt x="850" y="210"/>
                    <a:pt x="850" y="210"/>
                  </a:cubicBezTo>
                  <a:cubicBezTo>
                    <a:pt x="850" y="210"/>
                    <a:pt x="849" y="210"/>
                    <a:pt x="849" y="209"/>
                  </a:cubicBezTo>
                  <a:cubicBezTo>
                    <a:pt x="848" y="209"/>
                    <a:pt x="847" y="209"/>
                    <a:pt x="846" y="209"/>
                  </a:cubicBezTo>
                  <a:cubicBezTo>
                    <a:pt x="850" y="198"/>
                    <a:pt x="850" y="198"/>
                    <a:pt x="850" y="198"/>
                  </a:cubicBezTo>
                  <a:cubicBezTo>
                    <a:pt x="878" y="196"/>
                    <a:pt x="878" y="196"/>
                    <a:pt x="878" y="196"/>
                  </a:cubicBezTo>
                  <a:cubicBezTo>
                    <a:pt x="878" y="196"/>
                    <a:pt x="878" y="196"/>
                    <a:pt x="878" y="197"/>
                  </a:cubicBezTo>
                  <a:close/>
                  <a:moveTo>
                    <a:pt x="886" y="168"/>
                  </a:moveTo>
                  <a:cubicBezTo>
                    <a:pt x="883" y="176"/>
                    <a:pt x="881" y="183"/>
                    <a:pt x="880" y="189"/>
                  </a:cubicBezTo>
                  <a:cubicBezTo>
                    <a:pt x="852" y="191"/>
                    <a:pt x="852" y="191"/>
                    <a:pt x="852" y="191"/>
                  </a:cubicBezTo>
                  <a:cubicBezTo>
                    <a:pt x="867" y="146"/>
                    <a:pt x="867" y="146"/>
                    <a:pt x="867" y="146"/>
                  </a:cubicBezTo>
                  <a:cubicBezTo>
                    <a:pt x="892" y="143"/>
                    <a:pt x="892" y="143"/>
                    <a:pt x="892" y="143"/>
                  </a:cubicBezTo>
                  <a:cubicBezTo>
                    <a:pt x="890" y="152"/>
                    <a:pt x="888" y="160"/>
                    <a:pt x="886" y="168"/>
                  </a:cubicBezTo>
                  <a:close/>
                  <a:moveTo>
                    <a:pt x="931" y="70"/>
                  </a:moveTo>
                  <a:cubicBezTo>
                    <a:pt x="926" y="73"/>
                    <a:pt x="921" y="77"/>
                    <a:pt x="917" y="79"/>
                  </a:cubicBezTo>
                  <a:cubicBezTo>
                    <a:pt x="915" y="81"/>
                    <a:pt x="914" y="82"/>
                    <a:pt x="913" y="83"/>
                  </a:cubicBezTo>
                  <a:cubicBezTo>
                    <a:pt x="912" y="84"/>
                    <a:pt x="911" y="84"/>
                    <a:pt x="911" y="84"/>
                  </a:cubicBezTo>
                  <a:cubicBezTo>
                    <a:pt x="911" y="84"/>
                    <a:pt x="911" y="85"/>
                    <a:pt x="911" y="85"/>
                  </a:cubicBezTo>
                  <a:cubicBezTo>
                    <a:pt x="869" y="90"/>
                    <a:pt x="869" y="90"/>
                    <a:pt x="869" y="90"/>
                  </a:cubicBezTo>
                  <a:cubicBezTo>
                    <a:pt x="870" y="87"/>
                    <a:pt x="871" y="85"/>
                    <a:pt x="872" y="83"/>
                  </a:cubicBezTo>
                  <a:cubicBezTo>
                    <a:pt x="873" y="81"/>
                    <a:pt x="874" y="80"/>
                    <a:pt x="874" y="79"/>
                  </a:cubicBezTo>
                  <a:cubicBezTo>
                    <a:pt x="874" y="79"/>
                    <a:pt x="874" y="79"/>
                    <a:pt x="874" y="78"/>
                  </a:cubicBezTo>
                  <a:cubicBezTo>
                    <a:pt x="875" y="78"/>
                    <a:pt x="875" y="78"/>
                    <a:pt x="875" y="78"/>
                  </a:cubicBezTo>
                  <a:cubicBezTo>
                    <a:pt x="876" y="77"/>
                    <a:pt x="877" y="76"/>
                    <a:pt x="879" y="75"/>
                  </a:cubicBezTo>
                  <a:cubicBezTo>
                    <a:pt x="885" y="71"/>
                    <a:pt x="893" y="65"/>
                    <a:pt x="901" y="60"/>
                  </a:cubicBezTo>
                  <a:cubicBezTo>
                    <a:pt x="917" y="64"/>
                    <a:pt x="917" y="64"/>
                    <a:pt x="917" y="64"/>
                  </a:cubicBezTo>
                  <a:cubicBezTo>
                    <a:pt x="918" y="64"/>
                    <a:pt x="925" y="66"/>
                    <a:pt x="933" y="69"/>
                  </a:cubicBezTo>
                  <a:cubicBezTo>
                    <a:pt x="932" y="69"/>
                    <a:pt x="931" y="69"/>
                    <a:pt x="931" y="7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/>
          </p:spPr>
          <p:txBody>
            <a:bodyPr lIns="121920" tIns="60960" rIns="121920" bIns="60960"/>
            <a:lstStyle/>
            <a:p>
              <a:pPr defTabSz="9143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4" name="Shape 2671">
              <a:extLst>
                <a:ext uri="{FF2B5EF4-FFF2-40B4-BE49-F238E27FC236}">
                  <a16:creationId xmlns:a16="http://schemas.microsoft.com/office/drawing/2014/main" id="{2E694806-6E13-4F11-92C6-D429C86BD994}"/>
                </a:ext>
              </a:extLst>
            </p:cNvPr>
            <p:cNvSpPr/>
            <p:nvPr/>
          </p:nvSpPr>
          <p:spPr>
            <a:xfrm>
              <a:off x="1688628" y="3733662"/>
              <a:ext cx="882751" cy="1243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3" h="21574" extrusionOk="0">
                  <a:moveTo>
                    <a:pt x="13864" y="16422"/>
                  </a:moveTo>
                  <a:cubicBezTo>
                    <a:pt x="13295" y="16782"/>
                    <a:pt x="12583" y="17013"/>
                    <a:pt x="11740" y="17115"/>
                  </a:cubicBezTo>
                  <a:lnTo>
                    <a:pt x="11752" y="18333"/>
                  </a:lnTo>
                  <a:lnTo>
                    <a:pt x="9908" y="18336"/>
                  </a:lnTo>
                  <a:lnTo>
                    <a:pt x="9897" y="17119"/>
                  </a:lnTo>
                  <a:cubicBezTo>
                    <a:pt x="9066" y="17021"/>
                    <a:pt x="8316" y="16773"/>
                    <a:pt x="7666" y="16391"/>
                  </a:cubicBezTo>
                  <a:cubicBezTo>
                    <a:pt x="6892" y="15916"/>
                    <a:pt x="6492" y="15369"/>
                    <a:pt x="6466" y="14757"/>
                  </a:cubicBezTo>
                  <a:lnTo>
                    <a:pt x="6503" y="14424"/>
                  </a:lnTo>
                  <a:lnTo>
                    <a:pt x="8292" y="14419"/>
                  </a:lnTo>
                  <a:lnTo>
                    <a:pt x="8298" y="14543"/>
                  </a:lnTo>
                  <a:cubicBezTo>
                    <a:pt x="8309" y="15050"/>
                    <a:pt x="8528" y="15427"/>
                    <a:pt x="8960" y="15694"/>
                  </a:cubicBezTo>
                  <a:cubicBezTo>
                    <a:pt x="9384" y="15964"/>
                    <a:pt x="10003" y="16098"/>
                    <a:pt x="10790" y="16098"/>
                  </a:cubicBezTo>
                  <a:cubicBezTo>
                    <a:pt x="11584" y="16093"/>
                    <a:pt x="12202" y="15951"/>
                    <a:pt x="12633" y="15680"/>
                  </a:cubicBezTo>
                  <a:cubicBezTo>
                    <a:pt x="13064" y="15409"/>
                    <a:pt x="13270" y="15036"/>
                    <a:pt x="13270" y="14552"/>
                  </a:cubicBezTo>
                  <a:cubicBezTo>
                    <a:pt x="13270" y="14153"/>
                    <a:pt x="13070" y="13842"/>
                    <a:pt x="12652" y="13606"/>
                  </a:cubicBezTo>
                  <a:cubicBezTo>
                    <a:pt x="12221" y="13367"/>
                    <a:pt x="11477" y="13158"/>
                    <a:pt x="10433" y="12985"/>
                  </a:cubicBezTo>
                  <a:cubicBezTo>
                    <a:pt x="9278" y="12794"/>
                    <a:pt x="8385" y="12496"/>
                    <a:pt x="7803" y="12110"/>
                  </a:cubicBezTo>
                  <a:cubicBezTo>
                    <a:pt x="7210" y="11710"/>
                    <a:pt x="6897" y="11199"/>
                    <a:pt x="6892" y="10591"/>
                  </a:cubicBezTo>
                  <a:cubicBezTo>
                    <a:pt x="6886" y="9899"/>
                    <a:pt x="7266" y="9321"/>
                    <a:pt x="8023" y="8877"/>
                  </a:cubicBezTo>
                  <a:cubicBezTo>
                    <a:pt x="8534" y="8574"/>
                    <a:pt x="9147" y="8376"/>
                    <a:pt x="9833" y="8282"/>
                  </a:cubicBezTo>
                  <a:lnTo>
                    <a:pt x="9822" y="7225"/>
                  </a:lnTo>
                  <a:lnTo>
                    <a:pt x="11665" y="7216"/>
                  </a:lnTo>
                  <a:lnTo>
                    <a:pt x="11671" y="8242"/>
                  </a:lnTo>
                  <a:cubicBezTo>
                    <a:pt x="12496" y="8322"/>
                    <a:pt x="13183" y="8527"/>
                    <a:pt x="13727" y="8841"/>
                  </a:cubicBezTo>
                  <a:cubicBezTo>
                    <a:pt x="14451" y="9272"/>
                    <a:pt x="14851" y="9867"/>
                    <a:pt x="14907" y="10617"/>
                  </a:cubicBezTo>
                  <a:lnTo>
                    <a:pt x="14914" y="10748"/>
                  </a:lnTo>
                  <a:lnTo>
                    <a:pt x="13114" y="10754"/>
                  </a:lnTo>
                  <a:lnTo>
                    <a:pt x="13089" y="10650"/>
                  </a:lnTo>
                  <a:cubicBezTo>
                    <a:pt x="13002" y="10183"/>
                    <a:pt x="12783" y="9832"/>
                    <a:pt x="12427" y="9610"/>
                  </a:cubicBezTo>
                  <a:cubicBezTo>
                    <a:pt x="12077" y="9392"/>
                    <a:pt x="11565" y="9277"/>
                    <a:pt x="10895" y="9282"/>
                  </a:cubicBezTo>
                  <a:cubicBezTo>
                    <a:pt x="10196" y="9282"/>
                    <a:pt x="9640" y="9401"/>
                    <a:pt x="9259" y="9632"/>
                  </a:cubicBezTo>
                  <a:cubicBezTo>
                    <a:pt x="8878" y="9858"/>
                    <a:pt x="8698" y="10160"/>
                    <a:pt x="8702" y="10572"/>
                  </a:cubicBezTo>
                  <a:cubicBezTo>
                    <a:pt x="8702" y="10924"/>
                    <a:pt x="8878" y="11204"/>
                    <a:pt x="9229" y="11408"/>
                  </a:cubicBezTo>
                  <a:cubicBezTo>
                    <a:pt x="9584" y="11621"/>
                    <a:pt x="10216" y="11808"/>
                    <a:pt x="11115" y="11954"/>
                  </a:cubicBezTo>
                  <a:cubicBezTo>
                    <a:pt x="12421" y="12172"/>
                    <a:pt x="13414" y="12492"/>
                    <a:pt x="14076" y="12914"/>
                  </a:cubicBezTo>
                  <a:cubicBezTo>
                    <a:pt x="14732" y="13335"/>
                    <a:pt x="15076" y="13877"/>
                    <a:pt x="15076" y="14521"/>
                  </a:cubicBezTo>
                  <a:cubicBezTo>
                    <a:pt x="15082" y="15289"/>
                    <a:pt x="14676" y="15929"/>
                    <a:pt x="13864" y="16422"/>
                  </a:cubicBezTo>
                  <a:cubicBezTo>
                    <a:pt x="13864" y="16422"/>
                    <a:pt x="13864" y="16422"/>
                    <a:pt x="13864" y="16422"/>
                  </a:cubicBezTo>
                  <a:close/>
                  <a:moveTo>
                    <a:pt x="13995" y="4271"/>
                  </a:moveTo>
                  <a:lnTo>
                    <a:pt x="13995" y="4298"/>
                  </a:lnTo>
                  <a:lnTo>
                    <a:pt x="7161" y="4325"/>
                  </a:lnTo>
                  <a:lnTo>
                    <a:pt x="7372" y="4045"/>
                  </a:lnTo>
                  <a:lnTo>
                    <a:pt x="7754" y="3756"/>
                  </a:lnTo>
                  <a:lnTo>
                    <a:pt x="13245" y="3739"/>
                  </a:lnTo>
                  <a:lnTo>
                    <a:pt x="14789" y="0"/>
                  </a:lnTo>
                  <a:lnTo>
                    <a:pt x="6535" y="31"/>
                  </a:lnTo>
                  <a:lnTo>
                    <a:pt x="7722" y="3668"/>
                  </a:lnTo>
                  <a:cubicBezTo>
                    <a:pt x="6866" y="2984"/>
                    <a:pt x="4761" y="1540"/>
                    <a:pt x="2855" y="2042"/>
                  </a:cubicBezTo>
                  <a:lnTo>
                    <a:pt x="3061" y="2446"/>
                  </a:lnTo>
                  <a:cubicBezTo>
                    <a:pt x="4687" y="2020"/>
                    <a:pt x="6673" y="3472"/>
                    <a:pt x="7372" y="4045"/>
                  </a:cubicBezTo>
                  <a:cubicBezTo>
                    <a:pt x="6210" y="4348"/>
                    <a:pt x="4699" y="4569"/>
                    <a:pt x="3805" y="4001"/>
                  </a:cubicBezTo>
                  <a:lnTo>
                    <a:pt x="3399" y="4329"/>
                  </a:lnTo>
                  <a:cubicBezTo>
                    <a:pt x="3930" y="4667"/>
                    <a:pt x="4605" y="4783"/>
                    <a:pt x="5310" y="4783"/>
                  </a:cubicBezTo>
                  <a:cubicBezTo>
                    <a:pt x="5729" y="4783"/>
                    <a:pt x="6155" y="4734"/>
                    <a:pt x="6566" y="4667"/>
                  </a:cubicBezTo>
                  <a:cubicBezTo>
                    <a:pt x="2687" y="6563"/>
                    <a:pt x="-26" y="10769"/>
                    <a:pt x="0" y="13957"/>
                  </a:cubicBezTo>
                  <a:cubicBezTo>
                    <a:pt x="32" y="18189"/>
                    <a:pt x="4886" y="21600"/>
                    <a:pt x="10828" y="21573"/>
                  </a:cubicBezTo>
                  <a:cubicBezTo>
                    <a:pt x="16782" y="21556"/>
                    <a:pt x="21574" y="18105"/>
                    <a:pt x="21543" y="13877"/>
                  </a:cubicBezTo>
                  <a:cubicBezTo>
                    <a:pt x="21518" y="10468"/>
                    <a:pt x="18344" y="5897"/>
                    <a:pt x="13995" y="4271"/>
                  </a:cubicBezTo>
                  <a:cubicBezTo>
                    <a:pt x="13995" y="4271"/>
                    <a:pt x="13995" y="4271"/>
                    <a:pt x="13995" y="4271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0" cap="flat">
              <a:noFill/>
              <a:miter lim="400000"/>
            </a:ln>
            <a:effectLst/>
          </p:spPr>
          <p:txBody>
            <a:bodyPr lIns="38100" tIns="38100" rIns="38100" bIns="38100" anchor="ctr"/>
            <a:lstStyle/>
            <a:p>
              <a:pPr defTabSz="914377"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sp>
        <p:nvSpPr>
          <p:cNvPr id="24" name="文本框 23">
            <a:extLst>
              <a:ext uri="{FF2B5EF4-FFF2-40B4-BE49-F238E27FC236}">
                <a16:creationId xmlns:a16="http://schemas.microsoft.com/office/drawing/2014/main" id="{2B49CB5F-7B85-4F7D-AF9F-2B7ED23680B7}"/>
              </a:ext>
            </a:extLst>
          </p:cNvPr>
          <p:cNvSpPr txBox="1"/>
          <p:nvPr/>
        </p:nvSpPr>
        <p:spPr>
          <a:xfrm>
            <a:off x="6154096" y="5167506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投资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C566705A-AC46-4A2F-A9C5-EDBB2DF3816B}"/>
              </a:ext>
            </a:extLst>
          </p:cNvPr>
          <p:cNvSpPr txBox="1"/>
          <p:nvPr/>
        </p:nvSpPr>
        <p:spPr>
          <a:xfrm>
            <a:off x="9884423" y="4230374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购买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1135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CB8B17F-07E9-4711-A9B4-1A17E8A9F08C}"/>
              </a:ext>
            </a:extLst>
          </p:cNvPr>
          <p:cNvSpPr txBox="1"/>
          <p:nvPr/>
        </p:nvSpPr>
        <p:spPr>
          <a:xfrm>
            <a:off x="5234225" y="2659559"/>
            <a:ext cx="172354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矩阵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表示四个象限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764617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1862211" y="1699907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波士顿矩阵</a:t>
            </a:r>
            <a:endParaRPr lang="en-US" altLang="zh-CN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6CD6F9E-340A-47A8-9ED3-D24B188AAD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455" y="1312270"/>
            <a:ext cx="6810392" cy="420016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536043B-F01A-4174-9A9E-E139A32888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22" y="2800308"/>
            <a:ext cx="3952246" cy="271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99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FDD9890-EA46-46F6-B57A-BAA689A4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495" y="1152162"/>
            <a:ext cx="7744241" cy="5147276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6F191406-BA61-476F-B8BB-F769027339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660" y="3567880"/>
            <a:ext cx="3629180" cy="273155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C94CF44-0B2D-4130-A514-9C055C688D56}"/>
              </a:ext>
            </a:extLst>
          </p:cNvPr>
          <p:cNvSpPr txBox="1"/>
          <p:nvPr/>
        </p:nvSpPr>
        <p:spPr>
          <a:xfrm>
            <a:off x="1528956" y="187810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卡诺模型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212688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31</TotalTime>
  <Words>105</Words>
  <Application>Microsoft Office PowerPoint</Application>
  <PresentationFormat>宽屏</PresentationFormat>
  <Paragraphs>27</Paragraphs>
  <Slides>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2" baseType="lpstr">
      <vt:lpstr>굴림</vt:lpstr>
      <vt:lpstr>Helvetica Light</vt:lpstr>
      <vt:lpstr>等线</vt:lpstr>
      <vt:lpstr>等线 Light</vt:lpstr>
      <vt:lpstr>华文中宋</vt:lpstr>
      <vt:lpstr>思源黑体 CN Medium</vt:lpstr>
      <vt:lpstr>思源黑体 CN Normal</vt:lpstr>
      <vt:lpstr>宋体</vt:lpstr>
      <vt:lpstr>Arial</vt:lpstr>
      <vt:lpstr>Calibri</vt:lpstr>
      <vt:lpstr>Calibri Light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Administrator</cp:lastModifiedBy>
  <cp:revision>133</cp:revision>
  <dcterms:created xsi:type="dcterms:W3CDTF">2018-08-23T10:08:30Z</dcterms:created>
  <dcterms:modified xsi:type="dcterms:W3CDTF">2018-11-13T17:19:59Z</dcterms:modified>
</cp:coreProperties>
</file>